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78" r:id="rId4"/>
    <p:sldMasterId id="2147485629" r:id="rId5"/>
  </p:sldMasterIdLst>
  <p:notesMasterIdLst>
    <p:notesMasterId r:id="rId10"/>
  </p:notesMasterIdLst>
  <p:sldIdLst>
    <p:sldId id="359" r:id="rId6"/>
    <p:sldId id="358" r:id="rId7"/>
    <p:sldId id="360" r:id="rId8"/>
    <p:sldId id="361" r:id="rId9"/>
  </p:sldIdLst>
  <p:sldSz cx="9144000" cy="5143500" type="screen16x9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pos="68" userDrawn="1">
          <p15:clr>
            <a:srgbClr val="A4A3A4"/>
          </p15:clr>
        </p15:guide>
        <p15:guide id="3" orient="horz" pos="31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idhar Akshanthula (WT01 - TT-PM/DM/PgMA/PLCP)" initials="SA(-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00"/>
    <a:srgbClr val="173D75"/>
    <a:srgbClr val="FFFF00"/>
    <a:srgbClr val="707070"/>
    <a:srgbClr val="696969"/>
    <a:srgbClr val="686868"/>
    <a:srgbClr val="FFDB31"/>
    <a:srgbClr val="0BA5E0"/>
    <a:srgbClr val="FFDA29"/>
    <a:srgbClr val="0E35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1FFB84-B6DE-4D84-B365-3B571F9C97B6}" v="2" dt="2021-07-17T15:01:41.704"/>
    <p1510:client id="{39E86264-F6CC-482E-83AC-C5195DAD676C}" v="504" dt="2021-08-06T04:57:18.3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12" autoAdjust="0"/>
    <p:restoredTop sz="94322" autoAdjust="0"/>
  </p:normalViewPr>
  <p:slideViewPr>
    <p:cSldViewPr snapToGrid="0">
      <p:cViewPr varScale="1">
        <p:scale>
          <a:sx n="84" d="100"/>
          <a:sy n="84" d="100"/>
        </p:scale>
        <p:origin x="1146" y="84"/>
      </p:cViewPr>
      <p:guideLst>
        <p:guide orient="horz" pos="3072"/>
        <p:guide pos="68"/>
        <p:guide orient="horz" pos="3156"/>
      </p:guideLst>
    </p:cSldViewPr>
  </p:slideViewPr>
  <p:outlineViewPr>
    <p:cViewPr>
      <p:scale>
        <a:sx n="33" d="100"/>
        <a:sy n="33" d="100"/>
      </p:scale>
      <p:origin x="0" y="-268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hudawala Huzefa Fakhribhai (Europe - iCORE-CIS)" userId="S::ma20073739@wipro.com::23c8ad6c-0e69-46e6-995d-70a7d009babc" providerId="AD" clId="Web-{141FFB84-B6DE-4D84-B365-3B571F9C97B6}"/>
    <pc:docChg chg="modSld">
      <pc:chgData name="Mahudawala Huzefa Fakhribhai (Europe - iCORE-CIS)" userId="S::ma20073739@wipro.com::23c8ad6c-0e69-46e6-995d-70a7d009babc" providerId="AD" clId="Web-{141FFB84-B6DE-4D84-B365-3B571F9C97B6}" dt="2021-07-17T15:01:41.704" v="1" actId="1076"/>
      <pc:docMkLst>
        <pc:docMk/>
      </pc:docMkLst>
      <pc:sldChg chg="modSp">
        <pc:chgData name="Mahudawala Huzefa Fakhribhai (Europe - iCORE-CIS)" userId="S::ma20073739@wipro.com::23c8ad6c-0e69-46e6-995d-70a7d009babc" providerId="AD" clId="Web-{141FFB84-B6DE-4D84-B365-3B571F9C97B6}" dt="2021-07-17T15:01:41.704" v="1" actId="1076"/>
        <pc:sldMkLst>
          <pc:docMk/>
          <pc:sldMk cId="3956587504" sldId="358"/>
        </pc:sldMkLst>
        <pc:grpChg chg="mod">
          <ac:chgData name="Mahudawala Huzefa Fakhribhai (Europe - iCORE-CIS)" userId="S::ma20073739@wipro.com::23c8ad6c-0e69-46e6-995d-70a7d009babc" providerId="AD" clId="Web-{141FFB84-B6DE-4D84-B365-3B571F9C97B6}" dt="2021-07-17T15:01:37.610" v="0" actId="1076"/>
          <ac:grpSpMkLst>
            <pc:docMk/>
            <pc:sldMk cId="3956587504" sldId="358"/>
            <ac:grpSpMk id="19" creationId="{00000000-0000-0000-0000-000000000000}"/>
          </ac:grpSpMkLst>
        </pc:grpChg>
        <pc:grpChg chg="mod">
          <ac:chgData name="Mahudawala Huzefa Fakhribhai (Europe - iCORE-CIS)" userId="S::ma20073739@wipro.com::23c8ad6c-0e69-46e6-995d-70a7d009babc" providerId="AD" clId="Web-{141FFB84-B6DE-4D84-B365-3B571F9C97B6}" dt="2021-07-17T15:01:41.704" v="1" actId="1076"/>
          <ac:grpSpMkLst>
            <pc:docMk/>
            <pc:sldMk cId="3956587504" sldId="358"/>
            <ac:grpSpMk id="130" creationId="{00000000-0000-0000-0000-000000000000}"/>
          </ac:grpSpMkLst>
        </pc:grpChg>
      </pc:sldChg>
    </pc:docChg>
  </pc:docChgLst>
  <pc:docChgLst>
    <pc:chgData name="Nabarupa Ghosh (iDEAS-Apps &amp; Data)" userId="S::na20020197@wipro.com::912d8752-ab0d-4b59-80e3-b365ca000499" providerId="AD" clId="Web-{39E86264-F6CC-482E-83AC-C5195DAD676C}"/>
    <pc:docChg chg="addSld delSld modSld sldOrd">
      <pc:chgData name="Nabarupa Ghosh (iDEAS-Apps &amp; Data)" userId="S::na20020197@wipro.com::912d8752-ab0d-4b59-80e3-b365ca000499" providerId="AD" clId="Web-{39E86264-F6CC-482E-83AC-C5195DAD676C}" dt="2021-08-06T04:57:18.336" v="361"/>
      <pc:docMkLst>
        <pc:docMk/>
      </pc:docMkLst>
      <pc:sldChg chg="addSp delSp modSp ord">
        <pc:chgData name="Nabarupa Ghosh (iDEAS-Apps &amp; Data)" userId="S::na20020197@wipro.com::912d8752-ab0d-4b59-80e3-b365ca000499" providerId="AD" clId="Web-{39E86264-F6CC-482E-83AC-C5195DAD676C}" dt="2021-08-06T04:50:01.547" v="170"/>
        <pc:sldMkLst>
          <pc:docMk/>
          <pc:sldMk cId="3956587504" sldId="358"/>
        </pc:sldMkLst>
        <pc:spChg chg="add">
          <ac:chgData name="Nabarupa Ghosh (iDEAS-Apps &amp; Data)" userId="S::na20020197@wipro.com::912d8752-ab0d-4b59-80e3-b365ca000499" providerId="AD" clId="Web-{39E86264-F6CC-482E-83AC-C5195DAD676C}" dt="2021-08-06T04:49:49.390" v="168"/>
          <ac:spMkLst>
            <pc:docMk/>
            <pc:sldMk cId="3956587504" sldId="358"/>
            <ac:spMk id="36" creationId="{5E8402B1-E973-4C16-B116-8C8D484C2E4B}"/>
          </ac:spMkLst>
        </pc:spChg>
        <pc:spChg chg="del mod topLvl">
          <ac:chgData name="Nabarupa Ghosh (iDEAS-Apps &amp; Data)" userId="S::na20020197@wipro.com::912d8752-ab0d-4b59-80e3-b365ca000499" providerId="AD" clId="Web-{39E86264-F6CC-482E-83AC-C5195DAD676C}" dt="2021-08-06T04:49:56.828" v="169"/>
          <ac:spMkLst>
            <pc:docMk/>
            <pc:sldMk cId="3956587504" sldId="358"/>
            <ac:spMk id="38" creationId="{00000000-0000-0000-0000-000000000000}"/>
          </ac:spMkLst>
        </pc:spChg>
        <pc:grpChg chg="del">
          <ac:chgData name="Nabarupa Ghosh (iDEAS-Apps &amp; Data)" userId="S::na20020197@wipro.com::912d8752-ab0d-4b59-80e3-b365ca000499" providerId="AD" clId="Web-{39E86264-F6CC-482E-83AC-C5195DAD676C}" dt="2021-08-06T04:49:13.233" v="164"/>
          <ac:grpSpMkLst>
            <pc:docMk/>
            <pc:sldMk cId="3956587504" sldId="358"/>
            <ac:grpSpMk id="130" creationId="{00000000-0000-0000-0000-000000000000}"/>
          </ac:grpSpMkLst>
        </pc:grpChg>
        <pc:picChg chg="del topLvl">
          <ac:chgData name="Nabarupa Ghosh (iDEAS-Apps &amp; Data)" userId="S::na20020197@wipro.com::912d8752-ab0d-4b59-80e3-b365ca000499" providerId="AD" clId="Web-{39E86264-F6CC-482E-83AC-C5195DAD676C}" dt="2021-08-06T04:49:13.233" v="164"/>
          <ac:picMkLst>
            <pc:docMk/>
            <pc:sldMk cId="3956587504" sldId="358"/>
            <ac:picMk id="42" creationId="{00000000-0000-0000-0000-000000000000}"/>
          </ac:picMkLst>
        </pc:picChg>
        <pc:cxnChg chg="del mod">
          <ac:chgData name="Nabarupa Ghosh (iDEAS-Apps &amp; Data)" userId="S::na20020197@wipro.com::912d8752-ab0d-4b59-80e3-b365ca000499" providerId="AD" clId="Web-{39E86264-F6CC-482E-83AC-C5195DAD676C}" dt="2021-08-06T04:50:01.547" v="170"/>
          <ac:cxnSpMkLst>
            <pc:docMk/>
            <pc:sldMk cId="3956587504" sldId="358"/>
            <ac:cxnSpMk id="37" creationId="{00000000-0000-0000-0000-000000000000}"/>
          </ac:cxnSpMkLst>
        </pc:cxnChg>
      </pc:sldChg>
      <pc:sldChg chg="addSp modSp new">
        <pc:chgData name="Nabarupa Ghosh (iDEAS-Apps &amp; Data)" userId="S::na20020197@wipro.com::912d8752-ab0d-4b59-80e3-b365ca000499" providerId="AD" clId="Web-{39E86264-F6CC-482E-83AC-C5195DAD676C}" dt="2021-08-06T04:48:54.436" v="163" actId="14100"/>
        <pc:sldMkLst>
          <pc:docMk/>
          <pc:sldMk cId="145115608" sldId="359"/>
        </pc:sldMkLst>
        <pc:spChg chg="mod">
          <ac:chgData name="Nabarupa Ghosh (iDEAS-Apps &amp; Data)" userId="S::na20020197@wipro.com::912d8752-ab0d-4b59-80e3-b365ca000499" providerId="AD" clId="Web-{39E86264-F6CC-482E-83AC-C5195DAD676C}" dt="2021-08-06T04:48:23.139" v="143" actId="20577"/>
          <ac:spMkLst>
            <pc:docMk/>
            <pc:sldMk cId="145115608" sldId="359"/>
            <ac:spMk id="3" creationId="{3D22FD21-9175-4743-9B0B-2EB936DB3F70}"/>
          </ac:spMkLst>
        </pc:spChg>
        <pc:spChg chg="add mod">
          <ac:chgData name="Nabarupa Ghosh (iDEAS-Apps &amp; Data)" userId="S::na20020197@wipro.com::912d8752-ab0d-4b59-80e3-b365ca000499" providerId="AD" clId="Web-{39E86264-F6CC-482E-83AC-C5195DAD676C}" dt="2021-08-06T04:48:54.436" v="163" actId="14100"/>
          <ac:spMkLst>
            <pc:docMk/>
            <pc:sldMk cId="145115608" sldId="359"/>
            <ac:spMk id="4" creationId="{1059AEF4-0E5D-46AE-9D65-785A1D2249E4}"/>
          </ac:spMkLst>
        </pc:spChg>
      </pc:sldChg>
      <pc:sldChg chg="new del">
        <pc:chgData name="Nabarupa Ghosh (iDEAS-Apps &amp; Data)" userId="S::na20020197@wipro.com::912d8752-ab0d-4b59-80e3-b365ca000499" providerId="AD" clId="Web-{39E86264-F6CC-482E-83AC-C5195DAD676C}" dt="2021-08-06T04:50:49.516" v="172"/>
        <pc:sldMkLst>
          <pc:docMk/>
          <pc:sldMk cId="107561969" sldId="360"/>
        </pc:sldMkLst>
      </pc:sldChg>
      <pc:sldChg chg="addSp modSp new">
        <pc:chgData name="Nabarupa Ghosh (iDEAS-Apps &amp; Data)" userId="S::na20020197@wipro.com::912d8752-ab0d-4b59-80e3-b365ca000499" providerId="AD" clId="Web-{39E86264-F6CC-482E-83AC-C5195DAD676C}" dt="2021-08-06T04:55:31.131" v="338" actId="1076"/>
        <pc:sldMkLst>
          <pc:docMk/>
          <pc:sldMk cId="1298443757" sldId="360"/>
        </pc:sldMkLst>
        <pc:spChg chg="mod">
          <ac:chgData name="Nabarupa Ghosh (iDEAS-Apps &amp; Data)" userId="S::na20020197@wipro.com::912d8752-ab0d-4b59-80e3-b365ca000499" providerId="AD" clId="Web-{39E86264-F6CC-482E-83AC-C5195DAD676C}" dt="2021-08-06T04:52:31.174" v="198" actId="20577"/>
          <ac:spMkLst>
            <pc:docMk/>
            <pc:sldMk cId="1298443757" sldId="360"/>
            <ac:spMk id="3" creationId="{02E164B5-FCB3-4B34-B030-2C03CAB2547C}"/>
          </ac:spMkLst>
        </pc:spChg>
        <pc:spChg chg="add mod">
          <ac:chgData name="Nabarupa Ghosh (iDEAS-Apps &amp; Data)" userId="S::na20020197@wipro.com::912d8752-ab0d-4b59-80e3-b365ca000499" providerId="AD" clId="Web-{39E86264-F6CC-482E-83AC-C5195DAD676C}" dt="2021-08-06T04:53:14.769" v="225" actId="20577"/>
          <ac:spMkLst>
            <pc:docMk/>
            <pc:sldMk cId="1298443757" sldId="360"/>
            <ac:spMk id="4" creationId="{F3A9B381-EEF4-48CD-993F-AD938C6E99FE}"/>
          </ac:spMkLst>
        </pc:spChg>
        <pc:spChg chg="add mod">
          <ac:chgData name="Nabarupa Ghosh (iDEAS-Apps &amp; Data)" userId="S::na20020197@wipro.com::912d8752-ab0d-4b59-80e3-b365ca000499" providerId="AD" clId="Web-{39E86264-F6CC-482E-83AC-C5195DAD676C}" dt="2021-08-06T04:55:31.131" v="338" actId="1076"/>
          <ac:spMkLst>
            <pc:docMk/>
            <pc:sldMk cId="1298443757" sldId="360"/>
            <ac:spMk id="5" creationId="{37F9E3D9-FED2-4361-8746-256FD0329332}"/>
          </ac:spMkLst>
        </pc:spChg>
        <pc:spChg chg="add mod">
          <ac:chgData name="Nabarupa Ghosh (iDEAS-Apps &amp; Data)" userId="S::na20020197@wipro.com::912d8752-ab0d-4b59-80e3-b365ca000499" providerId="AD" clId="Web-{39E86264-F6CC-482E-83AC-C5195DAD676C}" dt="2021-08-06T04:55:16.334" v="337" actId="20577"/>
          <ac:spMkLst>
            <pc:docMk/>
            <pc:sldMk cId="1298443757" sldId="360"/>
            <ac:spMk id="6" creationId="{BFE679EF-D3CE-41B8-8931-9AB7A2DFAE26}"/>
          </ac:spMkLst>
        </pc:spChg>
      </pc:sldChg>
      <pc:sldChg chg="addSp modSp new">
        <pc:chgData name="Nabarupa Ghosh (iDEAS-Apps &amp; Data)" userId="S::na20020197@wipro.com::912d8752-ab0d-4b59-80e3-b365ca000499" providerId="AD" clId="Web-{39E86264-F6CC-482E-83AC-C5195DAD676C}" dt="2021-08-06T04:57:18.336" v="361"/>
        <pc:sldMkLst>
          <pc:docMk/>
          <pc:sldMk cId="4120994561" sldId="361"/>
        </pc:sldMkLst>
        <pc:spChg chg="mod">
          <ac:chgData name="Nabarupa Ghosh (iDEAS-Apps &amp; Data)" userId="S::na20020197@wipro.com::912d8752-ab0d-4b59-80e3-b365ca000499" providerId="AD" clId="Web-{39E86264-F6CC-482E-83AC-C5195DAD676C}" dt="2021-08-06T04:57:02.008" v="360" actId="20577"/>
          <ac:spMkLst>
            <pc:docMk/>
            <pc:sldMk cId="4120994561" sldId="361"/>
            <ac:spMk id="3" creationId="{8C126BD3-450B-42C9-865A-73E089D0BBA2}"/>
          </ac:spMkLst>
        </pc:spChg>
        <pc:spChg chg="add">
          <ac:chgData name="Nabarupa Ghosh (iDEAS-Apps &amp; Data)" userId="S::na20020197@wipro.com::912d8752-ab0d-4b59-80e3-b365ca000499" providerId="AD" clId="Web-{39E86264-F6CC-482E-83AC-C5195DAD676C}" dt="2021-08-06T04:57:18.336" v="361"/>
          <ac:spMkLst>
            <pc:docMk/>
            <pc:sldMk cId="4120994561" sldId="361"/>
            <ac:spMk id="4" creationId="{2B2F91FC-7EA5-4780-86F0-D3C57D4EAF44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985DB5-8D67-47FB-9A44-C32748356B78}" type="doc">
      <dgm:prSet loTypeId="urn:microsoft.com/office/officeart/2005/8/layout/cycle2" loCatId="cycle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0CC42A62-00EA-4CD1-84CF-08A02D37F44D}">
      <dgm:prSet phldrT="[Text]"/>
      <dgm:spPr>
        <a:solidFill>
          <a:schemeClr val="bg1"/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n-US" dirty="0"/>
        </a:p>
      </dgm:t>
    </dgm:pt>
    <dgm:pt modelId="{4B258324-19C9-408C-AAEF-A9C6D1B2949C}" type="parTrans" cxnId="{FA770972-ADC3-4EDB-9FFC-65F004BC4E6E}">
      <dgm:prSet/>
      <dgm:spPr/>
      <dgm:t>
        <a:bodyPr/>
        <a:lstStyle/>
        <a:p>
          <a:endParaRPr lang="en-US"/>
        </a:p>
      </dgm:t>
    </dgm:pt>
    <dgm:pt modelId="{9A0CBCE6-0BE7-4531-975C-CDE2EC3B2ECD}" type="sibTrans" cxnId="{FA770972-ADC3-4EDB-9FFC-65F004BC4E6E}">
      <dgm:prSet/>
      <dgm:spPr>
        <a:solidFill>
          <a:schemeClr val="bg2">
            <a:lumMod val="50000"/>
          </a:schemeClr>
        </a:solidFill>
        <a:ln>
          <a:solidFill>
            <a:schemeClr val="bg2"/>
          </a:solidFill>
        </a:ln>
      </dgm:spPr>
      <dgm:t>
        <a:bodyPr/>
        <a:lstStyle/>
        <a:p>
          <a:endParaRPr lang="en-US"/>
        </a:p>
      </dgm:t>
    </dgm:pt>
    <dgm:pt modelId="{FA465645-F9FF-40E1-8BA8-EA593E5B1F09}">
      <dgm:prSet/>
      <dgm:spPr>
        <a:solidFill>
          <a:schemeClr val="bg1"/>
        </a:solidFill>
        <a:ln>
          <a:solidFill>
            <a:schemeClr val="tx2"/>
          </a:solidFill>
        </a:ln>
      </dgm:spPr>
      <dgm:t>
        <a:bodyPr/>
        <a:lstStyle/>
        <a:p>
          <a:endParaRPr lang="en-US" dirty="0"/>
        </a:p>
      </dgm:t>
    </dgm:pt>
    <dgm:pt modelId="{1169FE1B-AB82-4082-87BC-5E3C87F9D971}" type="parTrans" cxnId="{58D08D62-11D5-427D-822E-7141F0A89169}">
      <dgm:prSet/>
      <dgm:spPr/>
      <dgm:t>
        <a:bodyPr/>
        <a:lstStyle/>
        <a:p>
          <a:endParaRPr lang="en-US"/>
        </a:p>
      </dgm:t>
    </dgm:pt>
    <dgm:pt modelId="{1B313566-0561-4C25-9548-7F87EA795C50}" type="sibTrans" cxnId="{58D08D62-11D5-427D-822E-7141F0A89169}">
      <dgm:prSet/>
      <dgm:spPr>
        <a:solidFill>
          <a:schemeClr val="tx2"/>
        </a:solidFill>
      </dgm:spPr>
      <dgm:t>
        <a:bodyPr/>
        <a:lstStyle/>
        <a:p>
          <a:endParaRPr lang="en-US"/>
        </a:p>
      </dgm:t>
    </dgm:pt>
    <dgm:pt modelId="{FC8866D5-C71E-4A15-A679-3D8A95D7A462}">
      <dgm:prSet/>
      <dgm:spPr>
        <a:solidFill>
          <a:schemeClr val="bg1"/>
        </a:solidFill>
        <a:ln>
          <a:solidFill>
            <a:schemeClr val="accent3"/>
          </a:solidFill>
        </a:ln>
      </dgm:spPr>
      <dgm:t>
        <a:bodyPr/>
        <a:lstStyle/>
        <a:p>
          <a:endParaRPr lang="en-US" dirty="0"/>
        </a:p>
      </dgm:t>
    </dgm:pt>
    <dgm:pt modelId="{CD56D27E-648E-4085-81CC-8F0E8AED95FD}" type="parTrans" cxnId="{BF972B2E-62A3-4041-8033-FB3CE22531A2}">
      <dgm:prSet/>
      <dgm:spPr/>
      <dgm:t>
        <a:bodyPr/>
        <a:lstStyle/>
        <a:p>
          <a:endParaRPr lang="en-US"/>
        </a:p>
      </dgm:t>
    </dgm:pt>
    <dgm:pt modelId="{17080627-1287-42B0-8575-FC472F00B276}" type="sibTrans" cxnId="{BF972B2E-62A3-4041-8033-FB3CE22531A2}">
      <dgm:prSet/>
      <dgm:spPr>
        <a:solidFill>
          <a:schemeClr val="accent3"/>
        </a:solidFill>
        <a:ln>
          <a:solidFill>
            <a:schemeClr val="accent3"/>
          </a:solidFill>
        </a:ln>
      </dgm:spPr>
      <dgm:t>
        <a:bodyPr/>
        <a:lstStyle/>
        <a:p>
          <a:endParaRPr lang="en-US"/>
        </a:p>
      </dgm:t>
    </dgm:pt>
    <dgm:pt modelId="{A16F0C1D-BAE9-4D65-BE82-ADC5D6FCB8A0}">
      <dgm:prSet/>
      <dgm:spPr>
        <a:solidFill>
          <a:schemeClr val="bg1"/>
        </a:solidFill>
        <a:ln>
          <a:solidFill>
            <a:schemeClr val="accent6"/>
          </a:solidFill>
        </a:ln>
      </dgm:spPr>
      <dgm:t>
        <a:bodyPr/>
        <a:lstStyle/>
        <a:p>
          <a:endParaRPr lang="en-US" dirty="0"/>
        </a:p>
      </dgm:t>
    </dgm:pt>
    <dgm:pt modelId="{28A5C4E1-C842-44F1-A9CE-9A07E8DFC553}" type="parTrans" cxnId="{88BC3F95-D617-4598-85B9-B5C2D9AB263C}">
      <dgm:prSet/>
      <dgm:spPr/>
      <dgm:t>
        <a:bodyPr/>
        <a:lstStyle/>
        <a:p>
          <a:endParaRPr lang="en-US"/>
        </a:p>
      </dgm:t>
    </dgm:pt>
    <dgm:pt modelId="{681904E1-9BFB-4E08-8856-830F0BC51E4B}" type="sibTrans" cxnId="{88BC3F95-D617-4598-85B9-B5C2D9AB263C}">
      <dgm:prSet/>
      <dgm:spPr>
        <a:solidFill>
          <a:schemeClr val="accent6"/>
        </a:solidFill>
      </dgm:spPr>
      <dgm:t>
        <a:bodyPr/>
        <a:lstStyle/>
        <a:p>
          <a:endParaRPr lang="en-US"/>
        </a:p>
      </dgm:t>
    </dgm:pt>
    <dgm:pt modelId="{895784D5-9210-4909-A1AB-965A12A5B72C}">
      <dgm:prSet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>
        <a:solidFill>
          <a:schemeClr val="bg1"/>
        </a:solidFill>
      </dgm:spPr>
      <dgm:t>
        <a:bodyPr/>
        <a:lstStyle/>
        <a:p>
          <a:endParaRPr lang="en-US" dirty="0"/>
        </a:p>
      </dgm:t>
    </dgm:pt>
    <dgm:pt modelId="{231E113B-3873-4258-B232-439E4997960D}" type="sibTrans" cxnId="{54491224-9432-4FBE-BB4D-C0670B0CB0EE}">
      <dgm:prSet/>
      <dgm:spPr>
        <a:solidFill>
          <a:schemeClr val="accent4"/>
        </a:solidFill>
      </dgm:spPr>
      <dgm:t>
        <a:bodyPr/>
        <a:lstStyle/>
        <a:p>
          <a:endParaRPr lang="en-US"/>
        </a:p>
      </dgm:t>
    </dgm:pt>
    <dgm:pt modelId="{E4934EC7-3E72-4159-A3FE-FB133F28DD28}" type="parTrans" cxnId="{54491224-9432-4FBE-BB4D-C0670B0CB0EE}">
      <dgm:prSet/>
      <dgm:spPr/>
      <dgm:t>
        <a:bodyPr/>
        <a:lstStyle/>
        <a:p>
          <a:endParaRPr lang="en-US"/>
        </a:p>
      </dgm:t>
    </dgm:pt>
    <dgm:pt modelId="{3DBF96BC-2914-41AC-A701-B157F592646B}">
      <dgm:prSet phldrT="[Text]"/>
      <dgm:spPr>
        <a:ln>
          <a:solidFill>
            <a:schemeClr val="accent5"/>
          </a:solidFill>
        </a:ln>
      </dgm:spPr>
      <dgm:t>
        <a:bodyPr/>
        <a:lstStyle/>
        <a:p>
          <a:endParaRPr lang="en-US" dirty="0"/>
        </a:p>
      </dgm:t>
    </dgm:pt>
    <dgm:pt modelId="{268764EF-8B4A-4CEF-A753-A1F7E935F9D0}" type="sibTrans" cxnId="{5FE11A8F-7A81-47D6-BD4D-388BB8650C89}">
      <dgm:prSet/>
      <dgm:spPr>
        <a:solidFill>
          <a:schemeClr val="accent5"/>
        </a:solidFill>
      </dgm:spPr>
      <dgm:t>
        <a:bodyPr/>
        <a:lstStyle/>
        <a:p>
          <a:endParaRPr lang="en-US"/>
        </a:p>
      </dgm:t>
    </dgm:pt>
    <dgm:pt modelId="{1A647B6D-5452-4FEA-9F9D-22BE2BCF1553}" type="parTrans" cxnId="{5FE11A8F-7A81-47D6-BD4D-388BB8650C89}">
      <dgm:prSet/>
      <dgm:spPr/>
      <dgm:t>
        <a:bodyPr/>
        <a:lstStyle/>
        <a:p>
          <a:endParaRPr lang="en-US"/>
        </a:p>
      </dgm:t>
    </dgm:pt>
    <dgm:pt modelId="{16300D79-753E-4710-ABC4-5D5369A43C1C}">
      <dgm:prSet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endParaRPr lang="en-US" dirty="0"/>
        </a:p>
      </dgm:t>
    </dgm:pt>
    <dgm:pt modelId="{4BF342F0-19CF-45E1-B72B-1771BE08C58C}" type="parTrans" cxnId="{B5E141F9-FF97-4F1F-92C3-8AA3C0D1321D}">
      <dgm:prSet/>
      <dgm:spPr/>
      <dgm:t>
        <a:bodyPr/>
        <a:lstStyle/>
        <a:p>
          <a:endParaRPr lang="en-US"/>
        </a:p>
      </dgm:t>
    </dgm:pt>
    <dgm:pt modelId="{D14BAB0D-B6D8-40F5-BC66-F0143657CD5A}" type="sibTrans" cxnId="{B5E141F9-FF97-4F1F-92C3-8AA3C0D1321D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>
          <a:noFill/>
        </a:ln>
      </dgm:spPr>
      <dgm:t>
        <a:bodyPr/>
        <a:lstStyle/>
        <a:p>
          <a:endParaRPr lang="en-US"/>
        </a:p>
      </dgm:t>
    </dgm:pt>
    <dgm:pt modelId="{7C811FF1-F795-462F-9440-43EEF9544BF5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93082C71-7A23-4DB8-B6C9-E30264AFF5D5}" type="parTrans" cxnId="{FFC1FE05-7F12-430C-B007-9AA67F954BE8}">
      <dgm:prSet/>
      <dgm:spPr/>
      <dgm:t>
        <a:bodyPr/>
        <a:lstStyle/>
        <a:p>
          <a:endParaRPr lang="en-US"/>
        </a:p>
      </dgm:t>
    </dgm:pt>
    <dgm:pt modelId="{57264CA1-2D14-4CAA-A784-1D940FC6A592}" type="sibTrans" cxnId="{FFC1FE05-7F12-430C-B007-9AA67F954BE8}">
      <dgm:prSet/>
      <dgm:spPr>
        <a:solidFill>
          <a:schemeClr val="accent2"/>
        </a:solidFill>
      </dgm:spPr>
      <dgm:t>
        <a:bodyPr/>
        <a:lstStyle/>
        <a:p>
          <a:endParaRPr lang="en-US"/>
        </a:p>
      </dgm:t>
    </dgm:pt>
    <dgm:pt modelId="{66AFDEEA-90DC-4C7C-BC8F-F13855DD7B22}" type="pres">
      <dgm:prSet presAssocID="{60985DB5-8D67-47FB-9A44-C32748356B78}" presName="cycle" presStyleCnt="0">
        <dgm:presLayoutVars>
          <dgm:dir/>
          <dgm:resizeHandles val="exact"/>
        </dgm:presLayoutVars>
      </dgm:prSet>
      <dgm:spPr/>
    </dgm:pt>
    <dgm:pt modelId="{E546B726-A30B-428D-8100-016859C5720C}" type="pres">
      <dgm:prSet presAssocID="{0CC42A62-00EA-4CD1-84CF-08A02D37F44D}" presName="node" presStyleLbl="node1" presStyleIdx="0" presStyleCnt="8">
        <dgm:presLayoutVars>
          <dgm:bulletEnabled val="1"/>
        </dgm:presLayoutVars>
      </dgm:prSet>
      <dgm:spPr/>
    </dgm:pt>
    <dgm:pt modelId="{D0C2D00E-1C45-462B-9ED9-86F1E317BADC}" type="pres">
      <dgm:prSet presAssocID="{9A0CBCE6-0BE7-4531-975C-CDE2EC3B2ECD}" presName="sibTrans" presStyleLbl="sibTrans2D1" presStyleIdx="0" presStyleCnt="8"/>
      <dgm:spPr/>
    </dgm:pt>
    <dgm:pt modelId="{75EBFEB2-F8F8-4AAE-9D64-8D774B3D097C}" type="pres">
      <dgm:prSet presAssocID="{9A0CBCE6-0BE7-4531-975C-CDE2EC3B2ECD}" presName="connectorText" presStyleLbl="sibTrans2D1" presStyleIdx="0" presStyleCnt="8"/>
      <dgm:spPr/>
    </dgm:pt>
    <dgm:pt modelId="{08D3D4D9-66D9-4941-8136-5B5C573901C3}" type="pres">
      <dgm:prSet presAssocID="{3DBF96BC-2914-41AC-A701-B157F592646B}" presName="node" presStyleLbl="node1" presStyleIdx="1" presStyleCnt="8">
        <dgm:presLayoutVars>
          <dgm:bulletEnabled val="1"/>
        </dgm:presLayoutVars>
      </dgm:prSet>
      <dgm:spPr/>
    </dgm:pt>
    <dgm:pt modelId="{9B710F5D-704C-4921-9EB5-548E96343480}" type="pres">
      <dgm:prSet presAssocID="{268764EF-8B4A-4CEF-A753-A1F7E935F9D0}" presName="sibTrans" presStyleLbl="sibTrans2D1" presStyleIdx="1" presStyleCnt="8"/>
      <dgm:spPr/>
    </dgm:pt>
    <dgm:pt modelId="{92B2FBFB-2DB8-4B82-B1BA-A06E41DB9FD9}" type="pres">
      <dgm:prSet presAssocID="{268764EF-8B4A-4CEF-A753-A1F7E935F9D0}" presName="connectorText" presStyleLbl="sibTrans2D1" presStyleIdx="1" presStyleCnt="8"/>
      <dgm:spPr/>
    </dgm:pt>
    <dgm:pt modelId="{ACFD2A2C-628C-47CE-A222-007FF1726BBF}" type="pres">
      <dgm:prSet presAssocID="{895784D5-9210-4909-A1AB-965A12A5B72C}" presName="node" presStyleLbl="node1" presStyleIdx="2" presStyleCnt="8">
        <dgm:presLayoutVars>
          <dgm:bulletEnabled val="1"/>
        </dgm:presLayoutVars>
      </dgm:prSet>
      <dgm:spPr/>
    </dgm:pt>
    <dgm:pt modelId="{CF8F641B-76F7-47E3-95FE-EB1215175080}" type="pres">
      <dgm:prSet presAssocID="{231E113B-3873-4258-B232-439E4997960D}" presName="sibTrans" presStyleLbl="sibTrans2D1" presStyleIdx="2" presStyleCnt="8"/>
      <dgm:spPr/>
    </dgm:pt>
    <dgm:pt modelId="{01276967-0318-449C-9AEE-FECA7016182A}" type="pres">
      <dgm:prSet presAssocID="{231E113B-3873-4258-B232-439E4997960D}" presName="connectorText" presStyleLbl="sibTrans2D1" presStyleIdx="2" presStyleCnt="8"/>
      <dgm:spPr/>
    </dgm:pt>
    <dgm:pt modelId="{F1A87F87-4D87-45D1-9DB7-3DFB8573593E}" type="pres">
      <dgm:prSet presAssocID="{FC8866D5-C71E-4A15-A679-3D8A95D7A462}" presName="node" presStyleLbl="node1" presStyleIdx="3" presStyleCnt="8">
        <dgm:presLayoutVars>
          <dgm:bulletEnabled val="1"/>
        </dgm:presLayoutVars>
      </dgm:prSet>
      <dgm:spPr/>
    </dgm:pt>
    <dgm:pt modelId="{72951F6F-58D4-4269-8BB4-D7801500AD54}" type="pres">
      <dgm:prSet presAssocID="{17080627-1287-42B0-8575-FC472F00B276}" presName="sibTrans" presStyleLbl="sibTrans2D1" presStyleIdx="3" presStyleCnt="8"/>
      <dgm:spPr/>
    </dgm:pt>
    <dgm:pt modelId="{46DA1563-7CA0-4EDE-B23E-C0B42EEA699A}" type="pres">
      <dgm:prSet presAssocID="{17080627-1287-42B0-8575-FC472F00B276}" presName="connectorText" presStyleLbl="sibTrans2D1" presStyleIdx="3" presStyleCnt="8"/>
      <dgm:spPr/>
    </dgm:pt>
    <dgm:pt modelId="{67818648-4A2C-4156-9AB8-0967F56D7E1D}" type="pres">
      <dgm:prSet presAssocID="{A16F0C1D-BAE9-4D65-BE82-ADC5D6FCB8A0}" presName="node" presStyleLbl="node1" presStyleIdx="4" presStyleCnt="8">
        <dgm:presLayoutVars>
          <dgm:bulletEnabled val="1"/>
        </dgm:presLayoutVars>
      </dgm:prSet>
      <dgm:spPr/>
    </dgm:pt>
    <dgm:pt modelId="{752A8DAA-9C2D-45E3-91E3-0D9590B4B5D7}" type="pres">
      <dgm:prSet presAssocID="{681904E1-9BFB-4E08-8856-830F0BC51E4B}" presName="sibTrans" presStyleLbl="sibTrans2D1" presStyleIdx="4" presStyleCnt="8"/>
      <dgm:spPr/>
    </dgm:pt>
    <dgm:pt modelId="{AF24163F-6081-450A-89A4-9F34B70CE41F}" type="pres">
      <dgm:prSet presAssocID="{681904E1-9BFB-4E08-8856-830F0BC51E4B}" presName="connectorText" presStyleLbl="sibTrans2D1" presStyleIdx="4" presStyleCnt="8"/>
      <dgm:spPr/>
    </dgm:pt>
    <dgm:pt modelId="{3C1D2109-61F7-4B3F-AB56-6381A74264D6}" type="pres">
      <dgm:prSet presAssocID="{16300D79-753E-4710-ABC4-5D5369A43C1C}" presName="node" presStyleLbl="node1" presStyleIdx="5" presStyleCnt="8">
        <dgm:presLayoutVars>
          <dgm:bulletEnabled val="1"/>
        </dgm:presLayoutVars>
      </dgm:prSet>
      <dgm:spPr/>
    </dgm:pt>
    <dgm:pt modelId="{2369B40D-005E-4D53-8484-0069DCE3FB60}" type="pres">
      <dgm:prSet presAssocID="{D14BAB0D-B6D8-40F5-BC66-F0143657CD5A}" presName="sibTrans" presStyleLbl="sibTrans2D1" presStyleIdx="5" presStyleCnt="8"/>
      <dgm:spPr/>
    </dgm:pt>
    <dgm:pt modelId="{2BFC3066-A8C0-47E8-80F9-F015DD4DF70D}" type="pres">
      <dgm:prSet presAssocID="{D14BAB0D-B6D8-40F5-BC66-F0143657CD5A}" presName="connectorText" presStyleLbl="sibTrans2D1" presStyleIdx="5" presStyleCnt="8"/>
      <dgm:spPr/>
    </dgm:pt>
    <dgm:pt modelId="{24446683-0E6F-494C-A6E7-16C2448A6321}" type="pres">
      <dgm:prSet presAssocID="{FA465645-F9FF-40E1-8BA8-EA593E5B1F09}" presName="node" presStyleLbl="node1" presStyleIdx="6" presStyleCnt="8">
        <dgm:presLayoutVars>
          <dgm:bulletEnabled val="1"/>
        </dgm:presLayoutVars>
      </dgm:prSet>
      <dgm:spPr/>
    </dgm:pt>
    <dgm:pt modelId="{77C92CAF-3A57-463E-80AB-03AF55017691}" type="pres">
      <dgm:prSet presAssocID="{1B313566-0561-4C25-9548-7F87EA795C50}" presName="sibTrans" presStyleLbl="sibTrans2D1" presStyleIdx="6" presStyleCnt="8"/>
      <dgm:spPr/>
    </dgm:pt>
    <dgm:pt modelId="{5BA9E603-F5A8-4CC0-9452-576CD2744840}" type="pres">
      <dgm:prSet presAssocID="{1B313566-0561-4C25-9548-7F87EA795C50}" presName="connectorText" presStyleLbl="sibTrans2D1" presStyleIdx="6" presStyleCnt="8"/>
      <dgm:spPr/>
    </dgm:pt>
    <dgm:pt modelId="{3753025E-1673-4E9A-AA84-76A19B549A65}" type="pres">
      <dgm:prSet presAssocID="{7C811FF1-F795-462F-9440-43EEF9544BF5}" presName="node" presStyleLbl="node1" presStyleIdx="7" presStyleCnt="8">
        <dgm:presLayoutVars>
          <dgm:bulletEnabled val="1"/>
        </dgm:presLayoutVars>
      </dgm:prSet>
      <dgm:spPr/>
    </dgm:pt>
    <dgm:pt modelId="{28911FC2-36E8-4621-8B33-AEC807A1B691}" type="pres">
      <dgm:prSet presAssocID="{57264CA1-2D14-4CAA-A784-1D940FC6A592}" presName="sibTrans" presStyleLbl="sibTrans2D1" presStyleIdx="7" presStyleCnt="8"/>
      <dgm:spPr/>
    </dgm:pt>
    <dgm:pt modelId="{AC3539FE-BBB0-4224-8A5C-D1A009180C11}" type="pres">
      <dgm:prSet presAssocID="{57264CA1-2D14-4CAA-A784-1D940FC6A592}" presName="connectorText" presStyleLbl="sibTrans2D1" presStyleIdx="7" presStyleCnt="8"/>
      <dgm:spPr/>
    </dgm:pt>
  </dgm:ptLst>
  <dgm:cxnLst>
    <dgm:cxn modelId="{D39C7A03-8FB9-4BAF-81CB-4910E9609C00}" type="presOf" srcId="{FA465645-F9FF-40E1-8BA8-EA593E5B1F09}" destId="{24446683-0E6F-494C-A6E7-16C2448A6321}" srcOrd="0" destOrd="0" presId="urn:microsoft.com/office/officeart/2005/8/layout/cycle2"/>
    <dgm:cxn modelId="{FFC1FE05-7F12-430C-B007-9AA67F954BE8}" srcId="{60985DB5-8D67-47FB-9A44-C32748356B78}" destId="{7C811FF1-F795-462F-9440-43EEF9544BF5}" srcOrd="7" destOrd="0" parTransId="{93082C71-7A23-4DB8-B6C9-E30264AFF5D5}" sibTransId="{57264CA1-2D14-4CAA-A784-1D940FC6A592}"/>
    <dgm:cxn modelId="{DE21CA07-E39D-4D6C-9DBC-8664C2D9A5B7}" type="presOf" srcId="{D14BAB0D-B6D8-40F5-BC66-F0143657CD5A}" destId="{2BFC3066-A8C0-47E8-80F9-F015DD4DF70D}" srcOrd="1" destOrd="0" presId="urn:microsoft.com/office/officeart/2005/8/layout/cycle2"/>
    <dgm:cxn modelId="{F0FD6621-F128-47F5-A872-811A80A55666}" type="presOf" srcId="{9A0CBCE6-0BE7-4531-975C-CDE2EC3B2ECD}" destId="{D0C2D00E-1C45-462B-9ED9-86F1E317BADC}" srcOrd="0" destOrd="0" presId="urn:microsoft.com/office/officeart/2005/8/layout/cycle2"/>
    <dgm:cxn modelId="{54491224-9432-4FBE-BB4D-C0670B0CB0EE}" srcId="{60985DB5-8D67-47FB-9A44-C32748356B78}" destId="{895784D5-9210-4909-A1AB-965A12A5B72C}" srcOrd="2" destOrd="0" parTransId="{E4934EC7-3E72-4159-A3FE-FB133F28DD28}" sibTransId="{231E113B-3873-4258-B232-439E4997960D}"/>
    <dgm:cxn modelId="{B0CCF225-CCDB-4D2E-B165-C756E2698B4B}" type="presOf" srcId="{3DBF96BC-2914-41AC-A701-B157F592646B}" destId="{08D3D4D9-66D9-4941-8136-5B5C573901C3}" srcOrd="0" destOrd="0" presId="urn:microsoft.com/office/officeart/2005/8/layout/cycle2"/>
    <dgm:cxn modelId="{7F225A26-B62D-4821-BC4B-A67F929C32D9}" type="presOf" srcId="{57264CA1-2D14-4CAA-A784-1D940FC6A592}" destId="{28911FC2-36E8-4621-8B33-AEC807A1B691}" srcOrd="0" destOrd="0" presId="urn:microsoft.com/office/officeart/2005/8/layout/cycle2"/>
    <dgm:cxn modelId="{9ED4472A-A1F4-4005-B5BD-6DB37C93AB7F}" type="presOf" srcId="{1B313566-0561-4C25-9548-7F87EA795C50}" destId="{5BA9E603-F5A8-4CC0-9452-576CD2744840}" srcOrd="1" destOrd="0" presId="urn:microsoft.com/office/officeart/2005/8/layout/cycle2"/>
    <dgm:cxn modelId="{1ECCC32D-62E4-4075-98D1-2B34133A354A}" type="presOf" srcId="{0CC42A62-00EA-4CD1-84CF-08A02D37F44D}" destId="{E546B726-A30B-428D-8100-016859C5720C}" srcOrd="0" destOrd="0" presId="urn:microsoft.com/office/officeart/2005/8/layout/cycle2"/>
    <dgm:cxn modelId="{25D2EF2D-9900-4A72-948C-62BD8F34D78A}" type="presOf" srcId="{895784D5-9210-4909-A1AB-965A12A5B72C}" destId="{ACFD2A2C-628C-47CE-A222-007FF1726BBF}" srcOrd="0" destOrd="0" presId="urn:microsoft.com/office/officeart/2005/8/layout/cycle2"/>
    <dgm:cxn modelId="{BF972B2E-62A3-4041-8033-FB3CE22531A2}" srcId="{60985DB5-8D67-47FB-9A44-C32748356B78}" destId="{FC8866D5-C71E-4A15-A679-3D8A95D7A462}" srcOrd="3" destOrd="0" parTransId="{CD56D27E-648E-4085-81CC-8F0E8AED95FD}" sibTransId="{17080627-1287-42B0-8575-FC472F00B276}"/>
    <dgm:cxn modelId="{EA35F939-B658-42A1-B158-78DA35E4B512}" type="presOf" srcId="{231E113B-3873-4258-B232-439E4997960D}" destId="{01276967-0318-449C-9AEE-FECA7016182A}" srcOrd="1" destOrd="0" presId="urn:microsoft.com/office/officeart/2005/8/layout/cycle2"/>
    <dgm:cxn modelId="{99CDD03B-8157-4221-8FA2-B26E56847C8C}" type="presOf" srcId="{681904E1-9BFB-4E08-8856-830F0BC51E4B}" destId="{752A8DAA-9C2D-45E3-91E3-0D9590B4B5D7}" srcOrd="0" destOrd="0" presId="urn:microsoft.com/office/officeart/2005/8/layout/cycle2"/>
    <dgm:cxn modelId="{24025940-4137-4BD8-AFC7-DAF895D57303}" type="presOf" srcId="{57264CA1-2D14-4CAA-A784-1D940FC6A592}" destId="{AC3539FE-BBB0-4224-8A5C-D1A009180C11}" srcOrd="1" destOrd="0" presId="urn:microsoft.com/office/officeart/2005/8/layout/cycle2"/>
    <dgm:cxn modelId="{58D08D62-11D5-427D-822E-7141F0A89169}" srcId="{60985DB5-8D67-47FB-9A44-C32748356B78}" destId="{FA465645-F9FF-40E1-8BA8-EA593E5B1F09}" srcOrd="6" destOrd="0" parTransId="{1169FE1B-AB82-4082-87BC-5E3C87F9D971}" sibTransId="{1B313566-0561-4C25-9548-7F87EA795C50}"/>
    <dgm:cxn modelId="{F3A3196A-26A9-4F4D-A036-F78FEDF4CA90}" type="presOf" srcId="{A16F0C1D-BAE9-4D65-BE82-ADC5D6FCB8A0}" destId="{67818648-4A2C-4156-9AB8-0967F56D7E1D}" srcOrd="0" destOrd="0" presId="urn:microsoft.com/office/officeart/2005/8/layout/cycle2"/>
    <dgm:cxn modelId="{FA770972-ADC3-4EDB-9FFC-65F004BC4E6E}" srcId="{60985DB5-8D67-47FB-9A44-C32748356B78}" destId="{0CC42A62-00EA-4CD1-84CF-08A02D37F44D}" srcOrd="0" destOrd="0" parTransId="{4B258324-19C9-408C-AAEF-A9C6D1B2949C}" sibTransId="{9A0CBCE6-0BE7-4531-975C-CDE2EC3B2ECD}"/>
    <dgm:cxn modelId="{3263117D-48D0-48E5-8CEA-B77A8847B0E3}" type="presOf" srcId="{D14BAB0D-B6D8-40F5-BC66-F0143657CD5A}" destId="{2369B40D-005E-4D53-8484-0069DCE3FB60}" srcOrd="0" destOrd="0" presId="urn:microsoft.com/office/officeart/2005/8/layout/cycle2"/>
    <dgm:cxn modelId="{D982198D-EF9B-403D-B694-C34CCFD6C872}" type="presOf" srcId="{1B313566-0561-4C25-9548-7F87EA795C50}" destId="{77C92CAF-3A57-463E-80AB-03AF55017691}" srcOrd="0" destOrd="0" presId="urn:microsoft.com/office/officeart/2005/8/layout/cycle2"/>
    <dgm:cxn modelId="{5FE11A8F-7A81-47D6-BD4D-388BB8650C89}" srcId="{60985DB5-8D67-47FB-9A44-C32748356B78}" destId="{3DBF96BC-2914-41AC-A701-B157F592646B}" srcOrd="1" destOrd="0" parTransId="{1A647B6D-5452-4FEA-9F9D-22BE2BCF1553}" sibTransId="{268764EF-8B4A-4CEF-A753-A1F7E935F9D0}"/>
    <dgm:cxn modelId="{527A2893-0BF5-4E17-B922-995FEDD2AC36}" type="presOf" srcId="{268764EF-8B4A-4CEF-A753-A1F7E935F9D0}" destId="{92B2FBFB-2DB8-4B82-B1BA-A06E41DB9FD9}" srcOrd="1" destOrd="0" presId="urn:microsoft.com/office/officeart/2005/8/layout/cycle2"/>
    <dgm:cxn modelId="{88BC3F95-D617-4598-85B9-B5C2D9AB263C}" srcId="{60985DB5-8D67-47FB-9A44-C32748356B78}" destId="{A16F0C1D-BAE9-4D65-BE82-ADC5D6FCB8A0}" srcOrd="4" destOrd="0" parTransId="{28A5C4E1-C842-44F1-A9CE-9A07E8DFC553}" sibTransId="{681904E1-9BFB-4E08-8856-830F0BC51E4B}"/>
    <dgm:cxn modelId="{ECD1A6AE-7034-43D7-BF08-6273BF103DBA}" type="presOf" srcId="{16300D79-753E-4710-ABC4-5D5369A43C1C}" destId="{3C1D2109-61F7-4B3F-AB56-6381A74264D6}" srcOrd="0" destOrd="0" presId="urn:microsoft.com/office/officeart/2005/8/layout/cycle2"/>
    <dgm:cxn modelId="{74D5F8AE-E017-4F36-B023-C8CBD86D733B}" type="presOf" srcId="{FC8866D5-C71E-4A15-A679-3D8A95D7A462}" destId="{F1A87F87-4D87-45D1-9DB7-3DFB8573593E}" srcOrd="0" destOrd="0" presId="urn:microsoft.com/office/officeart/2005/8/layout/cycle2"/>
    <dgm:cxn modelId="{C595FABD-C0E8-4A2E-8891-5DB4DAEB1E77}" type="presOf" srcId="{231E113B-3873-4258-B232-439E4997960D}" destId="{CF8F641B-76F7-47E3-95FE-EB1215175080}" srcOrd="0" destOrd="0" presId="urn:microsoft.com/office/officeart/2005/8/layout/cycle2"/>
    <dgm:cxn modelId="{C8DE38C6-010C-4341-B5D2-61BEA971D478}" type="presOf" srcId="{60985DB5-8D67-47FB-9A44-C32748356B78}" destId="{66AFDEEA-90DC-4C7C-BC8F-F13855DD7B22}" srcOrd="0" destOrd="0" presId="urn:microsoft.com/office/officeart/2005/8/layout/cycle2"/>
    <dgm:cxn modelId="{DF1D37CA-9CFF-4020-A84D-09AB8592864E}" type="presOf" srcId="{9A0CBCE6-0BE7-4531-975C-CDE2EC3B2ECD}" destId="{75EBFEB2-F8F8-4AAE-9D64-8D774B3D097C}" srcOrd="1" destOrd="0" presId="urn:microsoft.com/office/officeart/2005/8/layout/cycle2"/>
    <dgm:cxn modelId="{A3DE1ED0-7651-4B6E-89FA-A12B4DAD6134}" type="presOf" srcId="{681904E1-9BFB-4E08-8856-830F0BC51E4B}" destId="{AF24163F-6081-450A-89A4-9F34B70CE41F}" srcOrd="1" destOrd="0" presId="urn:microsoft.com/office/officeart/2005/8/layout/cycle2"/>
    <dgm:cxn modelId="{7084A3D0-7456-4EA4-B013-24A38856A1FA}" type="presOf" srcId="{7C811FF1-F795-462F-9440-43EEF9544BF5}" destId="{3753025E-1673-4E9A-AA84-76A19B549A65}" srcOrd="0" destOrd="0" presId="urn:microsoft.com/office/officeart/2005/8/layout/cycle2"/>
    <dgm:cxn modelId="{260326D4-4BB5-473E-A638-FA25D6607ACA}" type="presOf" srcId="{17080627-1287-42B0-8575-FC472F00B276}" destId="{46DA1563-7CA0-4EDE-B23E-C0B42EEA699A}" srcOrd="1" destOrd="0" presId="urn:microsoft.com/office/officeart/2005/8/layout/cycle2"/>
    <dgm:cxn modelId="{433949ED-05B2-443F-AAAE-0D142E8E444E}" type="presOf" srcId="{17080627-1287-42B0-8575-FC472F00B276}" destId="{72951F6F-58D4-4269-8BB4-D7801500AD54}" srcOrd="0" destOrd="0" presId="urn:microsoft.com/office/officeart/2005/8/layout/cycle2"/>
    <dgm:cxn modelId="{B5E141F9-FF97-4F1F-92C3-8AA3C0D1321D}" srcId="{60985DB5-8D67-47FB-9A44-C32748356B78}" destId="{16300D79-753E-4710-ABC4-5D5369A43C1C}" srcOrd="5" destOrd="0" parTransId="{4BF342F0-19CF-45E1-B72B-1771BE08C58C}" sibTransId="{D14BAB0D-B6D8-40F5-BC66-F0143657CD5A}"/>
    <dgm:cxn modelId="{1D489DFF-8823-4767-B239-4A075E4733CA}" type="presOf" srcId="{268764EF-8B4A-4CEF-A753-A1F7E935F9D0}" destId="{9B710F5D-704C-4921-9EB5-548E96343480}" srcOrd="0" destOrd="0" presId="urn:microsoft.com/office/officeart/2005/8/layout/cycle2"/>
    <dgm:cxn modelId="{81BC4196-B364-4D7D-8791-7A00E72BDCA1}" type="presParOf" srcId="{66AFDEEA-90DC-4C7C-BC8F-F13855DD7B22}" destId="{E546B726-A30B-428D-8100-016859C5720C}" srcOrd="0" destOrd="0" presId="urn:microsoft.com/office/officeart/2005/8/layout/cycle2"/>
    <dgm:cxn modelId="{D7C27120-2622-40B5-9BFC-4183CE4D81D7}" type="presParOf" srcId="{66AFDEEA-90DC-4C7C-BC8F-F13855DD7B22}" destId="{D0C2D00E-1C45-462B-9ED9-86F1E317BADC}" srcOrd="1" destOrd="0" presId="urn:microsoft.com/office/officeart/2005/8/layout/cycle2"/>
    <dgm:cxn modelId="{26E2114F-277C-4C96-9D5E-AC01BBD26FCE}" type="presParOf" srcId="{D0C2D00E-1C45-462B-9ED9-86F1E317BADC}" destId="{75EBFEB2-F8F8-4AAE-9D64-8D774B3D097C}" srcOrd="0" destOrd="0" presId="urn:microsoft.com/office/officeart/2005/8/layout/cycle2"/>
    <dgm:cxn modelId="{A2AEB22F-9DB9-4F5E-A9D7-6F46571666DB}" type="presParOf" srcId="{66AFDEEA-90DC-4C7C-BC8F-F13855DD7B22}" destId="{08D3D4D9-66D9-4941-8136-5B5C573901C3}" srcOrd="2" destOrd="0" presId="urn:microsoft.com/office/officeart/2005/8/layout/cycle2"/>
    <dgm:cxn modelId="{97122D82-06C4-4BB3-903D-81BE8FA82214}" type="presParOf" srcId="{66AFDEEA-90DC-4C7C-BC8F-F13855DD7B22}" destId="{9B710F5D-704C-4921-9EB5-548E96343480}" srcOrd="3" destOrd="0" presId="urn:microsoft.com/office/officeart/2005/8/layout/cycle2"/>
    <dgm:cxn modelId="{44067BBE-F9A4-42D4-9358-B62D69F69D0E}" type="presParOf" srcId="{9B710F5D-704C-4921-9EB5-548E96343480}" destId="{92B2FBFB-2DB8-4B82-B1BA-A06E41DB9FD9}" srcOrd="0" destOrd="0" presId="urn:microsoft.com/office/officeart/2005/8/layout/cycle2"/>
    <dgm:cxn modelId="{0CE48382-E0F7-4994-9056-56160CF1787F}" type="presParOf" srcId="{66AFDEEA-90DC-4C7C-BC8F-F13855DD7B22}" destId="{ACFD2A2C-628C-47CE-A222-007FF1726BBF}" srcOrd="4" destOrd="0" presId="urn:microsoft.com/office/officeart/2005/8/layout/cycle2"/>
    <dgm:cxn modelId="{34686F32-4A9F-4E03-8F34-A65013A723C2}" type="presParOf" srcId="{66AFDEEA-90DC-4C7C-BC8F-F13855DD7B22}" destId="{CF8F641B-76F7-47E3-95FE-EB1215175080}" srcOrd="5" destOrd="0" presId="urn:microsoft.com/office/officeart/2005/8/layout/cycle2"/>
    <dgm:cxn modelId="{8E555E5C-0FF2-45A5-9A00-3889769EB1E4}" type="presParOf" srcId="{CF8F641B-76F7-47E3-95FE-EB1215175080}" destId="{01276967-0318-449C-9AEE-FECA7016182A}" srcOrd="0" destOrd="0" presId="urn:microsoft.com/office/officeart/2005/8/layout/cycle2"/>
    <dgm:cxn modelId="{B6579B84-6DE3-4111-B673-F2F0F04E1CDE}" type="presParOf" srcId="{66AFDEEA-90DC-4C7C-BC8F-F13855DD7B22}" destId="{F1A87F87-4D87-45D1-9DB7-3DFB8573593E}" srcOrd="6" destOrd="0" presId="urn:microsoft.com/office/officeart/2005/8/layout/cycle2"/>
    <dgm:cxn modelId="{3B531960-6CB6-4CF5-B5BA-989D729A207D}" type="presParOf" srcId="{66AFDEEA-90DC-4C7C-BC8F-F13855DD7B22}" destId="{72951F6F-58D4-4269-8BB4-D7801500AD54}" srcOrd="7" destOrd="0" presId="urn:microsoft.com/office/officeart/2005/8/layout/cycle2"/>
    <dgm:cxn modelId="{2928C294-D31A-42D3-9A3F-1293C99FDC80}" type="presParOf" srcId="{72951F6F-58D4-4269-8BB4-D7801500AD54}" destId="{46DA1563-7CA0-4EDE-B23E-C0B42EEA699A}" srcOrd="0" destOrd="0" presId="urn:microsoft.com/office/officeart/2005/8/layout/cycle2"/>
    <dgm:cxn modelId="{FBD7C03B-2398-4CBD-A50A-28977253FFA0}" type="presParOf" srcId="{66AFDEEA-90DC-4C7C-BC8F-F13855DD7B22}" destId="{67818648-4A2C-4156-9AB8-0967F56D7E1D}" srcOrd="8" destOrd="0" presId="urn:microsoft.com/office/officeart/2005/8/layout/cycle2"/>
    <dgm:cxn modelId="{59692D37-21F1-4FB0-8417-E9813ABDA931}" type="presParOf" srcId="{66AFDEEA-90DC-4C7C-BC8F-F13855DD7B22}" destId="{752A8DAA-9C2D-45E3-91E3-0D9590B4B5D7}" srcOrd="9" destOrd="0" presId="urn:microsoft.com/office/officeart/2005/8/layout/cycle2"/>
    <dgm:cxn modelId="{F2D0B23B-A45F-4DE8-959D-1457954659EB}" type="presParOf" srcId="{752A8DAA-9C2D-45E3-91E3-0D9590B4B5D7}" destId="{AF24163F-6081-450A-89A4-9F34B70CE41F}" srcOrd="0" destOrd="0" presId="urn:microsoft.com/office/officeart/2005/8/layout/cycle2"/>
    <dgm:cxn modelId="{F9A969A7-F0D6-4F3F-B70C-B35C56663A23}" type="presParOf" srcId="{66AFDEEA-90DC-4C7C-BC8F-F13855DD7B22}" destId="{3C1D2109-61F7-4B3F-AB56-6381A74264D6}" srcOrd="10" destOrd="0" presId="urn:microsoft.com/office/officeart/2005/8/layout/cycle2"/>
    <dgm:cxn modelId="{C442D9E5-A282-499B-A84F-8F8AA357439B}" type="presParOf" srcId="{66AFDEEA-90DC-4C7C-BC8F-F13855DD7B22}" destId="{2369B40D-005E-4D53-8484-0069DCE3FB60}" srcOrd="11" destOrd="0" presId="urn:microsoft.com/office/officeart/2005/8/layout/cycle2"/>
    <dgm:cxn modelId="{2961CA52-20DD-49D9-85DC-3EAD8BC4F62E}" type="presParOf" srcId="{2369B40D-005E-4D53-8484-0069DCE3FB60}" destId="{2BFC3066-A8C0-47E8-80F9-F015DD4DF70D}" srcOrd="0" destOrd="0" presId="urn:microsoft.com/office/officeart/2005/8/layout/cycle2"/>
    <dgm:cxn modelId="{644504A9-83E7-4878-89AB-184670DA36F6}" type="presParOf" srcId="{66AFDEEA-90DC-4C7C-BC8F-F13855DD7B22}" destId="{24446683-0E6F-494C-A6E7-16C2448A6321}" srcOrd="12" destOrd="0" presId="urn:microsoft.com/office/officeart/2005/8/layout/cycle2"/>
    <dgm:cxn modelId="{D643E569-36B9-43FC-9ED9-5A74F2B7FF7B}" type="presParOf" srcId="{66AFDEEA-90DC-4C7C-BC8F-F13855DD7B22}" destId="{77C92CAF-3A57-463E-80AB-03AF55017691}" srcOrd="13" destOrd="0" presId="urn:microsoft.com/office/officeart/2005/8/layout/cycle2"/>
    <dgm:cxn modelId="{7CFEC28B-1494-47D6-9A75-C7440C3F9BEB}" type="presParOf" srcId="{77C92CAF-3A57-463E-80AB-03AF55017691}" destId="{5BA9E603-F5A8-4CC0-9452-576CD2744840}" srcOrd="0" destOrd="0" presId="urn:microsoft.com/office/officeart/2005/8/layout/cycle2"/>
    <dgm:cxn modelId="{AE917D69-A65E-48D1-9533-02D8DAF5302B}" type="presParOf" srcId="{66AFDEEA-90DC-4C7C-BC8F-F13855DD7B22}" destId="{3753025E-1673-4E9A-AA84-76A19B549A65}" srcOrd="14" destOrd="0" presId="urn:microsoft.com/office/officeart/2005/8/layout/cycle2"/>
    <dgm:cxn modelId="{32231859-10AA-4A34-9424-1A49AFEC9C57}" type="presParOf" srcId="{66AFDEEA-90DC-4C7C-BC8F-F13855DD7B22}" destId="{28911FC2-36E8-4621-8B33-AEC807A1B691}" srcOrd="15" destOrd="0" presId="urn:microsoft.com/office/officeart/2005/8/layout/cycle2"/>
    <dgm:cxn modelId="{B63AA8A7-CA33-416C-B137-17153A525A47}" type="presParOf" srcId="{28911FC2-36E8-4621-8B33-AEC807A1B691}" destId="{AC3539FE-BBB0-4224-8A5C-D1A009180C11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46B726-A30B-428D-8100-016859C5720C}">
      <dsp:nvSpPr>
        <dsp:cNvPr id="0" name=""/>
        <dsp:cNvSpPr/>
      </dsp:nvSpPr>
      <dsp:spPr>
        <a:xfrm>
          <a:off x="2200873" y="1072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2292345" y="92544"/>
        <a:ext cx="441669" cy="441669"/>
      </dsp:txXfrm>
    </dsp:sp>
    <dsp:sp modelId="{D0C2D00E-1C45-462B-9ED9-86F1E317BADC}">
      <dsp:nvSpPr>
        <dsp:cNvPr id="0" name=""/>
        <dsp:cNvSpPr/>
      </dsp:nvSpPr>
      <dsp:spPr>
        <a:xfrm rot="1350000">
          <a:off x="2859110" y="385676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50000"/>
          </a:schemeClr>
        </a:solidFill>
        <a:ln>
          <a:solidFill>
            <a:schemeClr val="bg2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2861007" y="418299"/>
        <a:ext cx="116307" cy="126485"/>
      </dsp:txXfrm>
    </dsp:sp>
    <dsp:sp modelId="{08D3D4D9-66D9-4941-8136-5B5C573901C3}">
      <dsp:nvSpPr>
        <dsp:cNvPr id="0" name=""/>
        <dsp:cNvSpPr/>
      </dsp:nvSpPr>
      <dsp:spPr>
        <a:xfrm>
          <a:off x="3067575" y="360072"/>
          <a:ext cx="624613" cy="62461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3159047" y="451544"/>
        <a:ext cx="441669" cy="441669"/>
      </dsp:txXfrm>
    </dsp:sp>
    <dsp:sp modelId="{9B710F5D-704C-4921-9EB5-548E96343480}">
      <dsp:nvSpPr>
        <dsp:cNvPr id="0" name=""/>
        <dsp:cNvSpPr/>
      </dsp:nvSpPr>
      <dsp:spPr>
        <a:xfrm rot="4050000">
          <a:off x="3474505" y="995982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3489890" y="1015117"/>
        <a:ext cx="116307" cy="126485"/>
      </dsp:txXfrm>
    </dsp:sp>
    <dsp:sp modelId="{ACFD2A2C-628C-47CE-A222-007FF1726BBF}">
      <dsp:nvSpPr>
        <dsp:cNvPr id="0" name=""/>
        <dsp:cNvSpPr/>
      </dsp:nvSpPr>
      <dsp:spPr>
        <a:xfrm>
          <a:off x="3426574" y="1226774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4"/>
          </a:solidFill>
          <a:prstDash val="solid"/>
        </a:ln>
        <a:effectLst/>
      </dsp:spPr>
      <dsp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3518046" y="1318246"/>
        <a:ext cx="441669" cy="441669"/>
      </dsp:txXfrm>
    </dsp:sp>
    <dsp:sp modelId="{CF8F641B-76F7-47E3-95FE-EB1215175080}">
      <dsp:nvSpPr>
        <dsp:cNvPr id="0" name=""/>
        <dsp:cNvSpPr/>
      </dsp:nvSpPr>
      <dsp:spPr>
        <a:xfrm rot="6750000">
          <a:off x="3478104" y="1862683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3512565" y="1881818"/>
        <a:ext cx="116307" cy="126485"/>
      </dsp:txXfrm>
    </dsp:sp>
    <dsp:sp modelId="{F1A87F87-4D87-45D1-9DB7-3DFB8573593E}">
      <dsp:nvSpPr>
        <dsp:cNvPr id="0" name=""/>
        <dsp:cNvSpPr/>
      </dsp:nvSpPr>
      <dsp:spPr>
        <a:xfrm>
          <a:off x="3067575" y="2093475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3159047" y="2184947"/>
        <a:ext cx="441669" cy="441669"/>
      </dsp:txXfrm>
    </dsp:sp>
    <dsp:sp modelId="{72951F6F-58D4-4269-8BB4-D7801500AD54}">
      <dsp:nvSpPr>
        <dsp:cNvPr id="0" name=""/>
        <dsp:cNvSpPr/>
      </dsp:nvSpPr>
      <dsp:spPr>
        <a:xfrm rot="9450000">
          <a:off x="2867799" y="2478079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/>
        </a:solidFill>
        <a:ln>
          <a:solidFill>
            <a:schemeClr val="accent3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2915748" y="2510702"/>
        <a:ext cx="116307" cy="126485"/>
      </dsp:txXfrm>
    </dsp:sp>
    <dsp:sp modelId="{67818648-4A2C-4156-9AB8-0967F56D7E1D}">
      <dsp:nvSpPr>
        <dsp:cNvPr id="0" name=""/>
        <dsp:cNvSpPr/>
      </dsp:nvSpPr>
      <dsp:spPr>
        <a:xfrm>
          <a:off x="2200873" y="2452475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2292345" y="2543947"/>
        <a:ext cx="441669" cy="441669"/>
      </dsp:txXfrm>
    </dsp:sp>
    <dsp:sp modelId="{752A8DAA-9C2D-45E3-91E3-0D9590B4B5D7}">
      <dsp:nvSpPr>
        <dsp:cNvPr id="0" name=""/>
        <dsp:cNvSpPr/>
      </dsp:nvSpPr>
      <dsp:spPr>
        <a:xfrm rot="12150000">
          <a:off x="2001097" y="2481678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2049046" y="2533377"/>
        <a:ext cx="116307" cy="126485"/>
      </dsp:txXfrm>
    </dsp:sp>
    <dsp:sp modelId="{3C1D2109-61F7-4B3F-AB56-6381A74264D6}">
      <dsp:nvSpPr>
        <dsp:cNvPr id="0" name=""/>
        <dsp:cNvSpPr/>
      </dsp:nvSpPr>
      <dsp:spPr>
        <a:xfrm>
          <a:off x="1334171" y="2093475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1425643" y="2184947"/>
        <a:ext cx="441669" cy="441669"/>
      </dsp:txXfrm>
    </dsp:sp>
    <dsp:sp modelId="{2369B40D-005E-4D53-8484-0069DCE3FB60}">
      <dsp:nvSpPr>
        <dsp:cNvPr id="0" name=""/>
        <dsp:cNvSpPr/>
      </dsp:nvSpPr>
      <dsp:spPr>
        <a:xfrm rot="14850000">
          <a:off x="1385701" y="1871372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1420162" y="1936559"/>
        <a:ext cx="116307" cy="126485"/>
      </dsp:txXfrm>
    </dsp:sp>
    <dsp:sp modelId="{24446683-0E6F-494C-A6E7-16C2448A6321}">
      <dsp:nvSpPr>
        <dsp:cNvPr id="0" name=""/>
        <dsp:cNvSpPr/>
      </dsp:nvSpPr>
      <dsp:spPr>
        <a:xfrm>
          <a:off x="975172" y="1226774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1066644" y="1318246"/>
        <a:ext cx="441669" cy="441669"/>
      </dsp:txXfrm>
    </dsp:sp>
    <dsp:sp modelId="{77C92CAF-3A57-463E-80AB-03AF55017691}">
      <dsp:nvSpPr>
        <dsp:cNvPr id="0" name=""/>
        <dsp:cNvSpPr/>
      </dsp:nvSpPr>
      <dsp:spPr>
        <a:xfrm rot="17550000">
          <a:off x="1382102" y="1004671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tx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397487" y="1069858"/>
        <a:ext cx="116307" cy="126485"/>
      </dsp:txXfrm>
    </dsp:sp>
    <dsp:sp modelId="{3753025E-1673-4E9A-AA84-76A19B549A65}">
      <dsp:nvSpPr>
        <dsp:cNvPr id="0" name=""/>
        <dsp:cNvSpPr/>
      </dsp:nvSpPr>
      <dsp:spPr>
        <a:xfrm>
          <a:off x="1334171" y="360072"/>
          <a:ext cx="624613" cy="62461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/>
        </a:p>
      </dsp:txBody>
      <dsp:txXfrm>
        <a:off x="1425643" y="451544"/>
        <a:ext cx="441669" cy="441669"/>
      </dsp:txXfrm>
    </dsp:sp>
    <dsp:sp modelId="{28911FC2-36E8-4621-8B33-AEC807A1B691}">
      <dsp:nvSpPr>
        <dsp:cNvPr id="0" name=""/>
        <dsp:cNvSpPr/>
      </dsp:nvSpPr>
      <dsp:spPr>
        <a:xfrm rot="20250000">
          <a:off x="1992408" y="389275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994305" y="440974"/>
        <a:ext cx="116307" cy="1264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5D2418-5498-496B-9B3E-912B9D6443B9}" type="datetimeFigureOut">
              <a:rPr lang="en-US" smtClean="0"/>
              <a:pPr/>
              <a:t>8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DA5EBE-E194-4A8A-BBBE-6B90DE9885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701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image" Target="../media/image7.emf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5.xml"/><Relationship Id="rId7" Type="http://schemas.openxmlformats.org/officeDocument/2006/relationships/image" Target="../media/image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8.xml"/><Relationship Id="rId7" Type="http://schemas.openxmlformats.org/officeDocument/2006/relationships/image" Target="../media/image7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1.xml"/><Relationship Id="rId7" Type="http://schemas.openxmlformats.org/officeDocument/2006/relationships/image" Target="../media/image7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4.xml"/><Relationship Id="rId7" Type="http://schemas.openxmlformats.org/officeDocument/2006/relationships/image" Target="../media/image7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7.xml"/><Relationship Id="rId7" Type="http://schemas.openxmlformats.org/officeDocument/2006/relationships/image" Target="../media/image1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0.xml"/><Relationship Id="rId7" Type="http://schemas.openxmlformats.org/officeDocument/2006/relationships/image" Target="../media/image7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3.xml"/><Relationship Id="rId7" Type="http://schemas.openxmlformats.org/officeDocument/2006/relationships/image" Target="../media/image7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6.xml"/><Relationship Id="rId7" Type="http://schemas.openxmlformats.org/officeDocument/2006/relationships/image" Target="../media/image7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9.xml"/><Relationship Id="rId7" Type="http://schemas.openxmlformats.org/officeDocument/2006/relationships/image" Target="../media/image7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0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2.xml"/><Relationship Id="rId7" Type="http://schemas.openxmlformats.org/officeDocument/2006/relationships/image" Target="../media/image7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7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7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7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74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7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7.emf"/><Relationship Id="rId2" Type="http://schemas.openxmlformats.org/officeDocument/2006/relationships/tags" Target="../tags/tag78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7.emf"/><Relationship Id="rId2" Type="http://schemas.openxmlformats.org/officeDocument/2006/relationships/tags" Target="../tags/tag81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7.xml"/><Relationship Id="rId7" Type="http://schemas.openxmlformats.org/officeDocument/2006/relationships/image" Target="../media/image7.emf"/><Relationship Id="rId2" Type="http://schemas.openxmlformats.org/officeDocument/2006/relationships/tags" Target="../tags/tag86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8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0.xml"/><Relationship Id="rId7" Type="http://schemas.openxmlformats.org/officeDocument/2006/relationships/image" Target="../media/image7.emf"/><Relationship Id="rId2" Type="http://schemas.openxmlformats.org/officeDocument/2006/relationships/tags" Target="../tags/tag89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1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3.xml"/><Relationship Id="rId7" Type="http://schemas.openxmlformats.org/officeDocument/2006/relationships/image" Target="../media/image7.emf"/><Relationship Id="rId2" Type="http://schemas.openxmlformats.org/officeDocument/2006/relationships/tags" Target="../tags/tag92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6.xml"/><Relationship Id="rId7" Type="http://schemas.openxmlformats.org/officeDocument/2006/relationships/image" Target="../media/image7.emf"/><Relationship Id="rId2" Type="http://schemas.openxmlformats.org/officeDocument/2006/relationships/tags" Target="../tags/tag9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7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9.xml"/><Relationship Id="rId7" Type="http://schemas.openxmlformats.org/officeDocument/2006/relationships/image" Target="../media/image7.emf"/><Relationship Id="rId2" Type="http://schemas.openxmlformats.org/officeDocument/2006/relationships/tags" Target="../tags/tag98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0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2.xml"/><Relationship Id="rId7" Type="http://schemas.openxmlformats.org/officeDocument/2006/relationships/image" Target="../media/image7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05.xml"/><Relationship Id="rId7" Type="http://schemas.openxmlformats.org/officeDocument/2006/relationships/image" Target="../media/image12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8.xml"/><Relationship Id="rId7" Type="http://schemas.openxmlformats.org/officeDocument/2006/relationships/image" Target="../media/image7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9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11.xml"/><Relationship Id="rId7" Type="http://schemas.openxmlformats.org/officeDocument/2006/relationships/image" Target="../media/image7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4.xml"/><Relationship Id="rId7" Type="http://schemas.openxmlformats.org/officeDocument/2006/relationships/image" Target="../media/image7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5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7.xml"/><Relationship Id="rId7" Type="http://schemas.openxmlformats.org/officeDocument/2006/relationships/image" Target="../media/image7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8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0.xml"/><Relationship Id="rId7" Type="http://schemas.openxmlformats.org/officeDocument/2006/relationships/image" Target="../media/image7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7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4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6.xml"/><Relationship Id="rId7" Type="http://schemas.openxmlformats.org/officeDocument/2006/relationships/image" Target="../media/image7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7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7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0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7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10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47.xml"/><Relationship Id="rId7" Type="http://schemas.openxmlformats.org/officeDocument/2006/relationships/image" Target="../media/image14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16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9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9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804468" y="1709011"/>
            <a:ext cx="2189805" cy="17521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Insert Title Here				 </a:t>
            </a:r>
            <a:br>
              <a:rPr lang="en-US" dirty="0"/>
            </a:br>
            <a:r>
              <a:rPr lang="en-US" dirty="0"/>
              <a:t>in two lines						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0" y="3348038"/>
            <a:ext cx="3190875" cy="139770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60552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_with people or other images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4"/>
          <p:cNvSpPr/>
          <p:nvPr/>
        </p:nvSpPr>
        <p:spPr>
          <a:xfrm>
            <a:off x="-114300" y="-25400"/>
            <a:ext cx="4671298" cy="4076763"/>
          </a:xfrm>
          <a:custGeom>
            <a:avLst/>
            <a:gdLst/>
            <a:ahLst/>
            <a:cxnLst/>
            <a:rect l="l" t="t" r="r" b="b"/>
            <a:pathLst>
              <a:path w="10193348" h="8895999">
                <a:moveTo>
                  <a:pt x="8488661" y="0"/>
                </a:moveTo>
                <a:lnTo>
                  <a:pt x="1704683" y="0"/>
                </a:lnTo>
                <a:lnTo>
                  <a:pt x="1492780" y="195439"/>
                </a:lnTo>
                <a:lnTo>
                  <a:pt x="1209152" y="502960"/>
                </a:lnTo>
                <a:lnTo>
                  <a:pt x="955379" y="827176"/>
                </a:lnTo>
                <a:lnTo>
                  <a:pt x="731462" y="1166233"/>
                </a:lnTo>
                <a:lnTo>
                  <a:pt x="537401" y="1518274"/>
                </a:lnTo>
                <a:lnTo>
                  <a:pt x="373195" y="1881445"/>
                </a:lnTo>
                <a:lnTo>
                  <a:pt x="238844" y="2253892"/>
                </a:lnTo>
                <a:lnTo>
                  <a:pt x="134350" y="2633758"/>
                </a:lnTo>
                <a:lnTo>
                  <a:pt x="59711" y="3019189"/>
                </a:lnTo>
                <a:lnTo>
                  <a:pt x="14927" y="3408331"/>
                </a:lnTo>
                <a:lnTo>
                  <a:pt x="0" y="3799327"/>
                </a:lnTo>
                <a:lnTo>
                  <a:pt x="14927" y="4190324"/>
                </a:lnTo>
                <a:lnTo>
                  <a:pt x="59711" y="4579465"/>
                </a:lnTo>
                <a:lnTo>
                  <a:pt x="134350" y="4964896"/>
                </a:lnTo>
                <a:lnTo>
                  <a:pt x="238844" y="5344763"/>
                </a:lnTo>
                <a:lnTo>
                  <a:pt x="373195" y="5717209"/>
                </a:lnTo>
                <a:lnTo>
                  <a:pt x="537401" y="6080381"/>
                </a:lnTo>
                <a:lnTo>
                  <a:pt x="731462" y="6432423"/>
                </a:lnTo>
                <a:lnTo>
                  <a:pt x="955379" y="6771479"/>
                </a:lnTo>
                <a:lnTo>
                  <a:pt x="1209152" y="7095696"/>
                </a:lnTo>
                <a:lnTo>
                  <a:pt x="1492780" y="7403218"/>
                </a:lnTo>
                <a:lnTo>
                  <a:pt x="1800302" y="7686847"/>
                </a:lnTo>
                <a:lnTo>
                  <a:pt x="2124519" y="7940619"/>
                </a:lnTo>
                <a:lnTo>
                  <a:pt x="2463576" y="8164537"/>
                </a:lnTo>
                <a:lnTo>
                  <a:pt x="2815618" y="8358598"/>
                </a:lnTo>
                <a:lnTo>
                  <a:pt x="3178790" y="8522804"/>
                </a:lnTo>
                <a:lnTo>
                  <a:pt x="3551236" y="8657154"/>
                </a:lnTo>
                <a:lnTo>
                  <a:pt x="3931103" y="8761649"/>
                </a:lnTo>
                <a:lnTo>
                  <a:pt x="4316535" y="8836288"/>
                </a:lnTo>
                <a:lnTo>
                  <a:pt x="4705676" y="8881071"/>
                </a:lnTo>
                <a:lnTo>
                  <a:pt x="5096673" y="8895999"/>
                </a:lnTo>
                <a:lnTo>
                  <a:pt x="5487669" y="8881071"/>
                </a:lnTo>
                <a:lnTo>
                  <a:pt x="5876811" y="8836288"/>
                </a:lnTo>
                <a:lnTo>
                  <a:pt x="6262242" y="8761649"/>
                </a:lnTo>
                <a:lnTo>
                  <a:pt x="6642109" y="8657154"/>
                </a:lnTo>
                <a:lnTo>
                  <a:pt x="7014555" y="8522804"/>
                </a:lnTo>
                <a:lnTo>
                  <a:pt x="7377727" y="8358598"/>
                </a:lnTo>
                <a:lnTo>
                  <a:pt x="7729769" y="8164537"/>
                </a:lnTo>
                <a:lnTo>
                  <a:pt x="8068825" y="7940619"/>
                </a:lnTo>
                <a:lnTo>
                  <a:pt x="8393042" y="7686847"/>
                </a:lnTo>
                <a:lnTo>
                  <a:pt x="8700564" y="7403218"/>
                </a:lnTo>
                <a:lnTo>
                  <a:pt x="8984193" y="7095696"/>
                </a:lnTo>
                <a:lnTo>
                  <a:pt x="9237966" y="6771479"/>
                </a:lnTo>
                <a:lnTo>
                  <a:pt x="9461884" y="6432423"/>
                </a:lnTo>
                <a:lnTo>
                  <a:pt x="9655946" y="6080381"/>
                </a:lnTo>
                <a:lnTo>
                  <a:pt x="9820152" y="5717209"/>
                </a:lnTo>
                <a:lnTo>
                  <a:pt x="9954502" y="5344763"/>
                </a:lnTo>
                <a:lnTo>
                  <a:pt x="10058997" y="4964896"/>
                </a:lnTo>
                <a:lnTo>
                  <a:pt x="10133636" y="4579465"/>
                </a:lnTo>
                <a:lnTo>
                  <a:pt x="10178420" y="4190324"/>
                </a:lnTo>
                <a:lnTo>
                  <a:pt x="10193348" y="3799327"/>
                </a:lnTo>
                <a:lnTo>
                  <a:pt x="10178420" y="3408331"/>
                </a:lnTo>
                <a:lnTo>
                  <a:pt x="10133636" y="3019189"/>
                </a:lnTo>
                <a:lnTo>
                  <a:pt x="10058997" y="2633758"/>
                </a:lnTo>
                <a:lnTo>
                  <a:pt x="9954502" y="2253892"/>
                </a:lnTo>
                <a:lnTo>
                  <a:pt x="9820152" y="1881445"/>
                </a:lnTo>
                <a:lnTo>
                  <a:pt x="9655946" y="1518274"/>
                </a:lnTo>
                <a:lnTo>
                  <a:pt x="9461884" y="1166233"/>
                </a:lnTo>
                <a:lnTo>
                  <a:pt x="9237966" y="827176"/>
                </a:lnTo>
                <a:lnTo>
                  <a:pt x="8984193" y="502960"/>
                </a:lnTo>
                <a:lnTo>
                  <a:pt x="8700564" y="195439"/>
                </a:lnTo>
                <a:lnTo>
                  <a:pt x="8488661" y="0"/>
                </a:lnTo>
                <a:close/>
              </a:path>
            </a:pathLst>
          </a:custGeom>
          <a:solidFill>
            <a:srgbClr val="FFDB2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+mn-lt"/>
            </a:endParaRPr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48903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457" y="3844395"/>
            <a:ext cx="1314000" cy="1103406"/>
          </a:xfrm>
          <a:prstGeom prst="rect">
            <a:avLst/>
          </a:prstGeom>
        </p:spPr>
      </p:pic>
      <p:sp>
        <p:nvSpPr>
          <p:cNvPr id="2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2316262"/>
            <a:ext cx="4314029" cy="381217"/>
          </a:xfrm>
        </p:spPr>
        <p:txBody>
          <a:bodyPr/>
          <a:lstStyle>
            <a:lvl1pPr marL="15394" indent="0" algn="ctr" defTabSz="4572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50" b="1" kern="1200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b="1" dirty="0" err="1">
                <a:solidFill>
                  <a:srgbClr val="0D356E"/>
                </a:solidFill>
                <a:latin typeface="+mn-lt"/>
                <a:cs typeface="Arial"/>
              </a:rPr>
              <a:t>Subheadlin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or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supportiv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6" y="2774490"/>
            <a:ext cx="4051300" cy="508000"/>
          </a:xfrm>
        </p:spPr>
        <p:txBody>
          <a:bodyPr/>
          <a:lstStyle>
            <a:lvl1pPr marL="15394" indent="0" algn="ctr" defTabSz="1828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050" kern="1200" spc="6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Lorem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ipsum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do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lor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s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met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consectetur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d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piscing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. </a:t>
            </a:r>
            <a:b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Morb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a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m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susci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,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da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bus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nu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la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u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mo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estie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quam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.</a:t>
            </a:r>
            <a:endParaRPr lang="en-US" sz="1050" dirty="0">
              <a:latin typeface="+mn-lt"/>
              <a:cs typeface="Arial"/>
            </a:endParaRPr>
          </a:p>
        </p:txBody>
      </p:sp>
      <p:sp>
        <p:nvSpPr>
          <p:cNvPr id="27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7062729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6258121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5453512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3BCAE27-A192-45DC-A959-116DB2B14D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836" y="914400"/>
            <a:ext cx="6946900" cy="1219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3600" spc="-55" dirty="0">
                <a:solidFill>
                  <a:srgbClr val="0D35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5394"/>
            <a: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  <a:t>Headline placeholder</a:t>
            </a:r>
            <a:b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i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t</a:t>
            </a:r>
            <a:r>
              <a:rPr lang="en-US" sz="3600" b="1" u="sng" spc="-85" dirty="0">
                <a:solidFill>
                  <a:srgbClr val="0D356E"/>
                </a:solidFill>
                <a:latin typeface="+mn-lt"/>
                <a:cs typeface="Arial"/>
              </a:rPr>
              <a:t>w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o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li</a:t>
            </a:r>
            <a:r>
              <a:rPr lang="en-US" sz="3600" b="1" u="sng" spc="-73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1" dirty="0">
                <a:solidFill>
                  <a:srgbClr val="0D356E"/>
                </a:solidFill>
                <a:latin typeface="+mn-lt"/>
                <a:cs typeface="Arial"/>
              </a:rPr>
              <a:t>es</a:t>
            </a:r>
            <a:endParaRPr lang="en-US" sz="3600" u="sng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432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6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63070" y="258807"/>
            <a:ext cx="5245100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5771" y="1295399"/>
            <a:ext cx="8601530" cy="2540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5771" y="1674584"/>
            <a:ext cx="8601530" cy="3085101"/>
          </a:xfrm>
        </p:spPr>
        <p:txBody>
          <a:bodyPr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/>
              <a:t>Description text in Dark Grey and 24pt size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5770" y="63500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0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TextBox 40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2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6" name="Oval 25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44539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  <p15:guide id="3" pos="55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5770" y="63500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63070" y="258807"/>
            <a:ext cx="5245100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5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6" name="TextBox 45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36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03771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">
          <p15:clr>
            <a:srgbClr val="FBAE40"/>
          </p15:clr>
        </p15:guide>
        <p15:guide id="2" pos="164">
          <p15:clr>
            <a:srgbClr val="FBAE40"/>
          </p15:clr>
        </p15:guide>
        <p15:guide id="3" orient="horz" pos="3078">
          <p15:clr>
            <a:srgbClr val="FBAE40"/>
          </p15:clr>
        </p15:guide>
        <p15:guide id="4" pos="559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9146399" cy="4902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background imag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5770" y="63500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3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5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7" name="Oval 26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68514" y="1765300"/>
            <a:ext cx="4374573" cy="1193706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4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121092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 with backgrou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9146399" cy="4902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background imag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7584" y="1278082"/>
            <a:ext cx="2651760" cy="997527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10pt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25857" y="1278082"/>
            <a:ext cx="2651760" cy="997527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174130" y="1278082"/>
            <a:ext cx="2651760" cy="997527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8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TextBox 38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0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7" name="Oval 26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3862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qua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492565" y="0"/>
            <a:ext cx="5653834" cy="4406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77584" y="1295399"/>
            <a:ext cx="2260600" cy="2540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7584" y="1674584"/>
            <a:ext cx="2260600" cy="30851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30pt.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3" y="254000"/>
            <a:ext cx="4198723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8" name="Rectangle 37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8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9" name="TextBox 48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50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47557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irc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 userDrawn="1"/>
        </p:nvSpPr>
        <p:spPr>
          <a:xfrm>
            <a:off x="3886688" y="2623199"/>
            <a:ext cx="2231136" cy="2231136"/>
          </a:xfrm>
          <a:prstGeom prst="ellipse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75770" y="1295399"/>
            <a:ext cx="2260600" cy="2540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5770" y="1674584"/>
            <a:ext cx="2260600" cy="30851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30pt.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5770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928633" y="584200"/>
            <a:ext cx="4064000" cy="4064000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5151666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8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TextBox 38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0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75535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7584" y="3896489"/>
            <a:ext cx="2061471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7584" y="4211108"/>
            <a:ext cx="2061471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442487" y="3896489"/>
            <a:ext cx="2051148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442487" y="4211108"/>
            <a:ext cx="2051148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637095" y="3896489"/>
            <a:ext cx="2061471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637095" y="4211108"/>
            <a:ext cx="2061471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842025" y="3896489"/>
            <a:ext cx="2061471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842025" y="4211108"/>
            <a:ext cx="2061471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25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277584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27" name="Picture Placeholder 9"/>
          <p:cNvSpPr>
            <a:spLocks noGrp="1"/>
          </p:cNvSpPr>
          <p:nvPr>
            <p:ph type="pic" sz="quarter" idx="25" hasCustomPrompt="1"/>
          </p:nvPr>
        </p:nvSpPr>
        <p:spPr>
          <a:xfrm>
            <a:off x="2442487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28" name="Picture Placeholder 9"/>
          <p:cNvSpPr>
            <a:spLocks noGrp="1"/>
          </p:cNvSpPr>
          <p:nvPr>
            <p:ph type="pic" sz="quarter" idx="26" hasCustomPrompt="1"/>
          </p:nvPr>
        </p:nvSpPr>
        <p:spPr>
          <a:xfrm>
            <a:off x="4647418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27" hasCustomPrompt="1"/>
          </p:nvPr>
        </p:nvSpPr>
        <p:spPr>
          <a:xfrm>
            <a:off x="6852349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3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4" name="TextBox 53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55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42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8" name="Oval 4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49" name="Oval 4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4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5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5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20614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ullet poin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4" name="Text Placeholder 38"/>
          <p:cNvSpPr>
            <a:spLocks noGrp="1"/>
          </p:cNvSpPr>
          <p:nvPr>
            <p:ph type="body" sz="quarter" idx="15" hasCustomPrompt="1"/>
          </p:nvPr>
        </p:nvSpPr>
        <p:spPr>
          <a:xfrm>
            <a:off x="203199" y="2806142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79281" y="2903314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28" name="Text Placeholder 38"/>
          <p:cNvSpPr>
            <a:spLocks noGrp="1"/>
          </p:cNvSpPr>
          <p:nvPr>
            <p:ph type="body" sz="quarter" idx="16" hasCustomPrompt="1"/>
          </p:nvPr>
        </p:nvSpPr>
        <p:spPr>
          <a:xfrm>
            <a:off x="2794448" y="2806142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70530" y="2687409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170530" y="2903314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31" name="Text Placeholder 38"/>
          <p:cNvSpPr>
            <a:spLocks noGrp="1"/>
          </p:cNvSpPr>
          <p:nvPr>
            <p:ph type="body" sz="quarter" idx="19" hasCustomPrompt="1"/>
          </p:nvPr>
        </p:nvSpPr>
        <p:spPr>
          <a:xfrm>
            <a:off x="203199" y="3890030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79281" y="3771297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79281" y="3987202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44" name="Text Placeholder 38"/>
          <p:cNvSpPr>
            <a:spLocks noGrp="1"/>
          </p:cNvSpPr>
          <p:nvPr>
            <p:ph type="body" sz="quarter" idx="22" hasCustomPrompt="1"/>
          </p:nvPr>
        </p:nvSpPr>
        <p:spPr>
          <a:xfrm>
            <a:off x="2794448" y="3890030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170530" y="3771297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170530" y="3987202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7584" y="1295399"/>
            <a:ext cx="5056406" cy="6858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79281" y="2687409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33" name="Picture Placeholder 9"/>
          <p:cNvSpPr>
            <a:spLocks noGrp="1"/>
          </p:cNvSpPr>
          <p:nvPr>
            <p:ph type="pic" sz="quarter" idx="27" hasCustomPrompt="1"/>
          </p:nvPr>
        </p:nvSpPr>
        <p:spPr>
          <a:xfrm>
            <a:off x="5562599" y="254000"/>
            <a:ext cx="3583799" cy="457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4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image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0" name="TextBox 59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1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2" name="Oval 41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53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54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55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82096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-1317287" y="154716"/>
            <a:ext cx="4808884" cy="4808884"/>
          </a:xfrm>
          <a:prstGeom prst="ellipse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5769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Add a quote</a:t>
            </a:r>
            <a:br>
              <a:rPr lang="en-US" dirty="0"/>
            </a:br>
            <a:r>
              <a:rPr lang="en-US" dirty="0"/>
              <a:t>below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5769" y="2184399"/>
            <a:ext cx="3794374" cy="8763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”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5769" y="3174999"/>
            <a:ext cx="3794374" cy="203202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Author nam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455886" y="2184399"/>
            <a:ext cx="4428402" cy="1850572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1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5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TextBox 35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38112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esenter's Pictur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67200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Insert Title Here				 </a:t>
            </a:r>
            <a:br>
              <a:rPr lang="en-US" dirty="0"/>
            </a:br>
            <a:r>
              <a:rPr lang="en-US" dirty="0"/>
              <a:t>in two lines						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29863" y="3515143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229863" y="3724346"/>
            <a:ext cx="3190875" cy="307903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 kumimoji="0" lang="en-US" sz="95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289307" y="3365500"/>
            <a:ext cx="774700" cy="774700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7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resenter’s image</a:t>
            </a:r>
            <a:endParaRPr lang="en-IN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804468" y="1709011"/>
            <a:ext cx="2189805" cy="1752170"/>
          </a:xfrm>
          <a:prstGeom prst="rect">
            <a:avLst/>
          </a:prstGeom>
        </p:spPr>
      </p:pic>
      <p:cxnSp>
        <p:nvCxnSpPr>
          <p:cNvPr id="39" name="Straight Connector 38"/>
          <p:cNvCxnSpPr/>
          <p:nvPr userDrawn="1"/>
        </p:nvCxnSpPr>
        <p:spPr>
          <a:xfrm>
            <a:off x="260350" y="-187203"/>
            <a:ext cx="0" cy="164592"/>
          </a:xfrm>
          <a:prstGeom prst="line">
            <a:avLst/>
          </a:prstGeom>
          <a:ln w="1270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260350" y="5128988"/>
            <a:ext cx="0" cy="164592"/>
          </a:xfrm>
          <a:prstGeom prst="line">
            <a:avLst/>
          </a:prstGeom>
          <a:ln w="1270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37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7584" y="1295399"/>
            <a:ext cx="3556000" cy="475344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mall table with optional highlight column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4" y="1861147"/>
            <a:ext cx="3556000" cy="2826742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3" hasCustomPrompt="1"/>
          </p:nvPr>
        </p:nvSpPr>
        <p:spPr>
          <a:xfrm>
            <a:off x="4035425" y="1295400"/>
            <a:ext cx="4868070" cy="3392488"/>
          </a:xfrm>
        </p:spPr>
        <p:txBody>
          <a:bodyPr/>
          <a:lstStyle>
            <a:lvl1pPr marL="0" indent="0" algn="ctr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abl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4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TextBox 34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6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98068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4" y="1295400"/>
            <a:ext cx="3556000" cy="3392489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maximus</a:t>
            </a:r>
            <a:r>
              <a:rPr lang="en-US" dirty="0"/>
              <a:t>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7" name="Chart Placehold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4035425" y="1295400"/>
            <a:ext cx="4868070" cy="3392488"/>
          </a:xfrm>
        </p:spPr>
        <p:txBody>
          <a:bodyPr/>
          <a:lstStyle>
            <a:lvl1pPr marL="1714500" marR="0" indent="0" algn="ctr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 sz="1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Click to add chart/graph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5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TextBox 35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5" name="Oval 24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25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rt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49022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4" y="1295401"/>
            <a:ext cx="4673600" cy="3061446"/>
          </a:xfrm>
        </p:spPr>
        <p:txBody>
          <a:bodyPr numCol="2" spcCol="27432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wo column body copy in size 10pt or 8pt as minimu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sz="quarter" idx="13" hasCustomPrompt="1"/>
          </p:nvPr>
        </p:nvSpPr>
        <p:spPr>
          <a:xfrm>
            <a:off x="5225143" y="696913"/>
            <a:ext cx="3659145" cy="3933825"/>
          </a:xfrm>
        </p:spPr>
        <p:txBody>
          <a:bodyPr/>
          <a:lstStyle>
            <a:lvl1pPr marL="0" indent="0" algn="ctr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nfographics/SmartAr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4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TextBox 34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6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79843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8130" y="254000"/>
            <a:ext cx="5245100" cy="5207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Map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87198" y="874485"/>
            <a:ext cx="4025901" cy="943164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12pt.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8130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pic>
        <p:nvPicPr>
          <p:cNvPr id="17" name="Map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6559" y="542375"/>
            <a:ext cx="4720038" cy="3115225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541202" y="38082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572000" y="39511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008052" y="38082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6038850" y="39511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7493952" y="38082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7524750" y="39511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541202" y="41511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572000" y="42940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008052" y="41511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6038850" y="42940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7493952" y="41511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524750" y="42940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287198" y="2695541"/>
            <a:ext cx="1963055" cy="431074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Bulletpoints</a:t>
            </a:r>
            <a:r>
              <a:rPr lang="en-US" dirty="0"/>
              <a:t> in minimum of 18pt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4776469" y="1277751"/>
            <a:ext cx="390843" cy="388006"/>
          </a:xfrm>
          <a:prstGeom prst="ellipse">
            <a:avLst/>
          </a:prstGeom>
          <a:solidFill>
            <a:schemeClr val="accent1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42" hasCustomPrompt="1"/>
          </p:nvPr>
        </p:nvSpPr>
        <p:spPr>
          <a:xfrm>
            <a:off x="6552294" y="1197316"/>
            <a:ext cx="390843" cy="388006"/>
          </a:xfrm>
          <a:prstGeom prst="ellipse">
            <a:avLst/>
          </a:prstGeom>
          <a:solidFill>
            <a:schemeClr val="accent5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7044205" y="1471754"/>
            <a:ext cx="390843" cy="388006"/>
          </a:xfrm>
          <a:prstGeom prst="ellipse">
            <a:avLst/>
          </a:prstGeom>
          <a:solidFill>
            <a:schemeClr val="accent2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4" hasCustomPrompt="1"/>
          </p:nvPr>
        </p:nvSpPr>
        <p:spPr>
          <a:xfrm>
            <a:off x="5648007" y="2245350"/>
            <a:ext cx="390843" cy="388006"/>
          </a:xfrm>
          <a:prstGeom prst="ellipse">
            <a:avLst/>
          </a:prstGeom>
          <a:solidFill>
            <a:schemeClr val="accent6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45" hasCustomPrompt="1"/>
          </p:nvPr>
        </p:nvSpPr>
        <p:spPr>
          <a:xfrm>
            <a:off x="7665244" y="1743700"/>
            <a:ext cx="390843" cy="388006"/>
          </a:xfrm>
          <a:prstGeom prst="ellipse">
            <a:avLst/>
          </a:prstGeom>
          <a:solidFill>
            <a:schemeClr val="accent4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7953949" y="1355694"/>
            <a:ext cx="390843" cy="388006"/>
          </a:xfrm>
          <a:prstGeom prst="ellipse">
            <a:avLst/>
          </a:prstGeom>
          <a:solidFill>
            <a:schemeClr val="accent3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47" hasCustomPrompt="1"/>
          </p:nvPr>
        </p:nvSpPr>
        <p:spPr>
          <a:xfrm>
            <a:off x="287198" y="3229894"/>
            <a:ext cx="1963055" cy="29581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287198" y="3628992"/>
            <a:ext cx="1963055" cy="57013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52" name="Text Placeholder 2"/>
          <p:cNvSpPr>
            <a:spLocks noGrp="1"/>
          </p:cNvSpPr>
          <p:nvPr>
            <p:ph type="body" sz="quarter" idx="49" hasCustomPrompt="1"/>
          </p:nvPr>
        </p:nvSpPr>
        <p:spPr>
          <a:xfrm>
            <a:off x="2350044" y="2695541"/>
            <a:ext cx="1963055" cy="431074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Tempus eu </a:t>
            </a:r>
            <a:r>
              <a:rPr lang="fr-FR" dirty="0" err="1"/>
              <a:t>orci</a:t>
            </a:r>
            <a:r>
              <a:rPr lang="fr-FR" dirty="0"/>
              <a:t> in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congue</a:t>
            </a:r>
            <a:r>
              <a:rPr lang="fr-FR" dirty="0"/>
              <a:t> </a:t>
            </a:r>
            <a:r>
              <a:rPr lang="fr-FR" dirty="0" err="1"/>
              <a:t>felis</a:t>
            </a:r>
            <a:r>
              <a:rPr lang="fr-FR" dirty="0"/>
              <a:t>. </a:t>
            </a:r>
            <a:r>
              <a:rPr lang="fr-FR" dirty="0" err="1"/>
              <a:t>Donec</a:t>
            </a:r>
            <a:r>
              <a:rPr lang="fr-FR" dirty="0"/>
              <a:t> ut </a:t>
            </a:r>
            <a:r>
              <a:rPr lang="fr-FR" dirty="0" err="1"/>
              <a:t>augue</a:t>
            </a:r>
            <a:r>
              <a:rPr lang="fr-FR" dirty="0"/>
              <a:t> et </a:t>
            </a:r>
            <a:r>
              <a:rPr lang="fr-FR" dirty="0" err="1"/>
              <a:t>sapien</a:t>
            </a:r>
            <a:r>
              <a:rPr lang="fr-FR" dirty="0"/>
              <a:t> </a:t>
            </a:r>
            <a:r>
              <a:rPr lang="fr-FR" dirty="0" err="1"/>
              <a:t>mattis</a:t>
            </a:r>
            <a:r>
              <a:rPr lang="fr-FR" dirty="0"/>
              <a:t> </a:t>
            </a:r>
            <a:r>
              <a:rPr lang="fr-FR" dirty="0" err="1"/>
              <a:t>scelerisque</a:t>
            </a:r>
            <a:r>
              <a:rPr lang="fr-FR" dirty="0"/>
              <a:t>. 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2350044" y="3229894"/>
            <a:ext cx="1963055" cy="29581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 dirty="0"/>
              <a:t>Curabitur eget nunc vitae orci commodo accumsan.</a:t>
            </a:r>
            <a:endParaRPr lang="en-US" dirty="0"/>
          </a:p>
        </p:txBody>
      </p:sp>
      <p:sp>
        <p:nvSpPr>
          <p:cNvPr id="54" name="Text Placeholder 2"/>
          <p:cNvSpPr>
            <a:spLocks noGrp="1"/>
          </p:cNvSpPr>
          <p:nvPr>
            <p:ph type="body" sz="quarter" idx="51" hasCustomPrompt="1"/>
          </p:nvPr>
        </p:nvSpPr>
        <p:spPr>
          <a:xfrm>
            <a:off x="2350044" y="3628992"/>
            <a:ext cx="1963055" cy="57013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52" hasCustomPrompt="1"/>
          </p:nvPr>
        </p:nvSpPr>
        <p:spPr>
          <a:xfrm>
            <a:off x="287198" y="1855792"/>
            <a:ext cx="4025901" cy="720140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6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TextBox 69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71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7" name="Group 56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58" name="Oval 5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62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63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64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26046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me Pla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9"/>
          <p:cNvSpPr>
            <a:spLocks noGrp="1"/>
          </p:cNvSpPr>
          <p:nvPr>
            <p:ph type="pic" sz="quarter" idx="52" hasCustomPrompt="1"/>
          </p:nvPr>
        </p:nvSpPr>
        <p:spPr>
          <a:xfrm>
            <a:off x="283027" y="809262"/>
            <a:ext cx="8601262" cy="395042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4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insert a Time Pla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2368263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3835113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5321013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83026" y="254000"/>
            <a:ext cx="5245100" cy="533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imple time plan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368263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3835113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5321013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0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TextBox 40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2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36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38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548101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imeline/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9"/>
          <p:cNvSpPr>
            <a:spLocks noGrp="1"/>
          </p:cNvSpPr>
          <p:nvPr>
            <p:ph type="pic" sz="quarter" idx="52" hasCustomPrompt="1"/>
          </p:nvPr>
        </p:nvSpPr>
        <p:spPr>
          <a:xfrm>
            <a:off x="3378200" y="809262"/>
            <a:ext cx="5525295" cy="395042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4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insert a Timeline/Roadmap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096702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5563552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7049452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63070" y="254000"/>
            <a:ext cx="5300482" cy="90302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imeline/Roadmap with text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4096702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5563552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7049452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203200" y="1286353"/>
            <a:ext cx="654050" cy="649302"/>
          </a:xfrm>
          <a:prstGeom prst="ellipse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lIns="0" rIns="0"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704055" y="1348393"/>
            <a:ext cx="2048669" cy="215444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int 1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704055" y="1569212"/>
            <a:ext cx="2048669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endParaRPr lang="en-US" dirty="0"/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57" hasCustomPrompt="1"/>
          </p:nvPr>
        </p:nvSpPr>
        <p:spPr>
          <a:xfrm>
            <a:off x="203200" y="2343628"/>
            <a:ext cx="654050" cy="649302"/>
          </a:xfrm>
          <a:prstGeom prst="ellipse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lIns="0" rIns="0"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704055" y="2405668"/>
            <a:ext cx="2048669" cy="215444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int 2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704055" y="2626487"/>
            <a:ext cx="2048669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endParaRPr lang="en-US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60" hasCustomPrompt="1"/>
          </p:nvPr>
        </p:nvSpPr>
        <p:spPr>
          <a:xfrm>
            <a:off x="203200" y="3425296"/>
            <a:ext cx="654050" cy="649302"/>
          </a:xfrm>
          <a:prstGeom prst="ellipse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lIns="0" rIns="0"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704055" y="3487336"/>
            <a:ext cx="2048669" cy="215444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int 3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704055" y="3708155"/>
            <a:ext cx="2048669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endParaRPr lang="en-US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4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TextBox 61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3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4" name="Oval 43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45" name="Oval 44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45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5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38877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4"/>
          <p:cNvSpPr>
            <a:spLocks noGrp="1"/>
          </p:cNvSpPr>
          <p:nvPr>
            <p:ph type="pic" sz="quarter" idx="36" hasCustomPrompt="1"/>
          </p:nvPr>
        </p:nvSpPr>
        <p:spPr>
          <a:xfrm>
            <a:off x="4303714" y="0"/>
            <a:ext cx="3499859" cy="4884738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add Color Image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6221676" y="0"/>
            <a:ext cx="2921000" cy="4889255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416" y="254000"/>
            <a:ext cx="3835400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4" name="Text Placeholder 38"/>
          <p:cNvSpPr>
            <a:spLocks noGrp="1"/>
          </p:cNvSpPr>
          <p:nvPr>
            <p:ph type="body" sz="quarter" idx="15" hasCustomPrompt="1"/>
          </p:nvPr>
        </p:nvSpPr>
        <p:spPr>
          <a:xfrm>
            <a:off x="226059" y="2231277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2141" y="2496914"/>
            <a:ext cx="3310548" cy="502381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1416" y="1295399"/>
            <a:ext cx="3686630" cy="6858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602141" y="2281009"/>
            <a:ext cx="3310548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siness Context</a:t>
            </a:r>
          </a:p>
        </p:txBody>
      </p:sp>
      <p:sp>
        <p:nvSpPr>
          <p:cNvPr id="26" name="Text Placeholder 38"/>
          <p:cNvSpPr>
            <a:spLocks noGrp="1"/>
          </p:cNvSpPr>
          <p:nvPr>
            <p:ph type="body" sz="quarter" idx="27" hasCustomPrompt="1"/>
          </p:nvPr>
        </p:nvSpPr>
        <p:spPr>
          <a:xfrm>
            <a:off x="226059" y="3155214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602141" y="3371119"/>
            <a:ext cx="3310548" cy="502381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602141" y="3155214"/>
            <a:ext cx="3310548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lution Approach</a:t>
            </a:r>
          </a:p>
        </p:txBody>
      </p:sp>
      <p:sp>
        <p:nvSpPr>
          <p:cNvPr id="35" name="Text Placeholder 38"/>
          <p:cNvSpPr>
            <a:spLocks noGrp="1"/>
          </p:cNvSpPr>
          <p:nvPr>
            <p:ph type="body" sz="quarter" idx="30" hasCustomPrompt="1"/>
          </p:nvPr>
        </p:nvSpPr>
        <p:spPr>
          <a:xfrm>
            <a:off x="226059" y="3994800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602141" y="4247419"/>
            <a:ext cx="3310548" cy="502381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02141" y="4031514"/>
            <a:ext cx="3310548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enefits Delivered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6498663" y="931094"/>
            <a:ext cx="2400140" cy="3131640"/>
          </a:xfrm>
        </p:spPr>
        <p:txBody>
          <a:bodyPr t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700" b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498663" y="664389"/>
            <a:ext cx="2400140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Value Wipro brings</a:t>
            </a: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35" hasCustomPrompt="1"/>
          </p:nvPr>
        </p:nvSpPr>
        <p:spPr>
          <a:xfrm>
            <a:off x="6498663" y="4128262"/>
            <a:ext cx="652955" cy="650994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View video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0" name="TextBox 59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1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6" name="Oval 45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53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54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55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65365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1416" y="254000"/>
            <a:ext cx="5245100" cy="5588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eam structure</a:t>
            </a:r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38232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30" name="Pladsholder til tekst 62"/>
          <p:cNvSpPr>
            <a:spLocks noGrp="1"/>
          </p:cNvSpPr>
          <p:nvPr>
            <p:ph type="body" sz="quarter" idx="30" hasCustomPrompt="1"/>
          </p:nvPr>
        </p:nvSpPr>
        <p:spPr>
          <a:xfrm>
            <a:off x="38232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31" name="Pladsholder til tekst 63"/>
          <p:cNvSpPr>
            <a:spLocks noGrp="1"/>
          </p:cNvSpPr>
          <p:nvPr>
            <p:ph type="body" sz="quarter" idx="31" hasCustomPrompt="1"/>
          </p:nvPr>
        </p:nvSpPr>
        <p:spPr>
          <a:xfrm>
            <a:off x="38232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33" name="Picture Placeholder 9"/>
          <p:cNvSpPr>
            <a:spLocks noGrp="1"/>
          </p:cNvSpPr>
          <p:nvPr>
            <p:ph type="pic" sz="quarter" idx="33" hasCustomPrompt="1"/>
          </p:nvPr>
        </p:nvSpPr>
        <p:spPr>
          <a:xfrm>
            <a:off x="260549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34" name="Pladsholder til tekst 62"/>
          <p:cNvSpPr>
            <a:spLocks noGrp="1"/>
          </p:cNvSpPr>
          <p:nvPr>
            <p:ph type="body" sz="quarter" idx="34" hasCustomPrompt="1"/>
          </p:nvPr>
        </p:nvSpPr>
        <p:spPr>
          <a:xfrm>
            <a:off x="260549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35" name="Pladsholder til tekst 63"/>
          <p:cNvSpPr>
            <a:spLocks noGrp="1"/>
          </p:cNvSpPr>
          <p:nvPr>
            <p:ph type="body" sz="quarter" idx="35" hasCustomPrompt="1"/>
          </p:nvPr>
        </p:nvSpPr>
        <p:spPr>
          <a:xfrm>
            <a:off x="260549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37" name="Picture Placeholder 9"/>
          <p:cNvSpPr>
            <a:spLocks noGrp="1"/>
          </p:cNvSpPr>
          <p:nvPr>
            <p:ph type="pic" sz="quarter" idx="37" hasCustomPrompt="1"/>
          </p:nvPr>
        </p:nvSpPr>
        <p:spPr>
          <a:xfrm>
            <a:off x="482866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38" name="Pladsholder til tekst 62"/>
          <p:cNvSpPr>
            <a:spLocks noGrp="1"/>
          </p:cNvSpPr>
          <p:nvPr>
            <p:ph type="body" sz="quarter" idx="38" hasCustomPrompt="1"/>
          </p:nvPr>
        </p:nvSpPr>
        <p:spPr>
          <a:xfrm>
            <a:off x="482866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39" name="Pladsholder til tekst 63"/>
          <p:cNvSpPr>
            <a:spLocks noGrp="1"/>
          </p:cNvSpPr>
          <p:nvPr>
            <p:ph type="body" sz="quarter" idx="39" hasCustomPrompt="1"/>
          </p:nvPr>
        </p:nvSpPr>
        <p:spPr>
          <a:xfrm>
            <a:off x="482866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41" name="Picture Placeholder 9"/>
          <p:cNvSpPr>
            <a:spLocks noGrp="1"/>
          </p:cNvSpPr>
          <p:nvPr>
            <p:ph type="pic" sz="quarter" idx="41" hasCustomPrompt="1"/>
          </p:nvPr>
        </p:nvSpPr>
        <p:spPr>
          <a:xfrm>
            <a:off x="705183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42" name="Pladsholder til tekst 62"/>
          <p:cNvSpPr>
            <a:spLocks noGrp="1"/>
          </p:cNvSpPr>
          <p:nvPr>
            <p:ph type="body" sz="quarter" idx="42" hasCustomPrompt="1"/>
          </p:nvPr>
        </p:nvSpPr>
        <p:spPr>
          <a:xfrm>
            <a:off x="705183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  <a:p>
            <a:endParaRPr lang="en-GB" dirty="0"/>
          </a:p>
        </p:txBody>
      </p:sp>
      <p:sp>
        <p:nvSpPr>
          <p:cNvPr id="43" name="Pladsholder til tekst 63"/>
          <p:cNvSpPr>
            <a:spLocks noGrp="1"/>
          </p:cNvSpPr>
          <p:nvPr>
            <p:ph type="body" sz="quarter" idx="43" hasCustomPrompt="1"/>
          </p:nvPr>
        </p:nvSpPr>
        <p:spPr>
          <a:xfrm>
            <a:off x="705183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62" name="Picture Placeholder 9"/>
          <p:cNvSpPr>
            <a:spLocks noGrp="1"/>
          </p:cNvSpPr>
          <p:nvPr>
            <p:ph type="pic" sz="quarter" idx="45" hasCustomPrompt="1"/>
          </p:nvPr>
        </p:nvSpPr>
        <p:spPr>
          <a:xfrm>
            <a:off x="38232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63" name="Pladsholder til tekst 62"/>
          <p:cNvSpPr>
            <a:spLocks noGrp="1"/>
          </p:cNvSpPr>
          <p:nvPr>
            <p:ph type="body" sz="quarter" idx="46" hasCustomPrompt="1"/>
          </p:nvPr>
        </p:nvSpPr>
        <p:spPr>
          <a:xfrm>
            <a:off x="38232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  <a:p>
            <a:endParaRPr lang="en-GB" dirty="0"/>
          </a:p>
        </p:txBody>
      </p:sp>
      <p:sp>
        <p:nvSpPr>
          <p:cNvPr id="64" name="Pladsholder til tekst 63"/>
          <p:cNvSpPr>
            <a:spLocks noGrp="1"/>
          </p:cNvSpPr>
          <p:nvPr>
            <p:ph type="body" sz="quarter" idx="47" hasCustomPrompt="1"/>
          </p:nvPr>
        </p:nvSpPr>
        <p:spPr>
          <a:xfrm>
            <a:off x="38232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66" name="Picture Placeholder 9"/>
          <p:cNvSpPr>
            <a:spLocks noGrp="1"/>
          </p:cNvSpPr>
          <p:nvPr>
            <p:ph type="pic" sz="quarter" idx="49" hasCustomPrompt="1"/>
          </p:nvPr>
        </p:nvSpPr>
        <p:spPr>
          <a:xfrm>
            <a:off x="260549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67" name="Pladsholder til tekst 62"/>
          <p:cNvSpPr>
            <a:spLocks noGrp="1"/>
          </p:cNvSpPr>
          <p:nvPr>
            <p:ph type="body" sz="quarter" idx="50" hasCustomPrompt="1"/>
          </p:nvPr>
        </p:nvSpPr>
        <p:spPr>
          <a:xfrm>
            <a:off x="260549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68" name="Pladsholder til tekst 63"/>
          <p:cNvSpPr>
            <a:spLocks noGrp="1"/>
          </p:cNvSpPr>
          <p:nvPr>
            <p:ph type="body" sz="quarter" idx="51" hasCustomPrompt="1"/>
          </p:nvPr>
        </p:nvSpPr>
        <p:spPr>
          <a:xfrm>
            <a:off x="260549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70" name="Picture Placeholder 9"/>
          <p:cNvSpPr>
            <a:spLocks noGrp="1"/>
          </p:cNvSpPr>
          <p:nvPr>
            <p:ph type="pic" sz="quarter" idx="53" hasCustomPrompt="1"/>
          </p:nvPr>
        </p:nvSpPr>
        <p:spPr>
          <a:xfrm>
            <a:off x="482866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71" name="Pladsholder til tekst 62"/>
          <p:cNvSpPr>
            <a:spLocks noGrp="1"/>
          </p:cNvSpPr>
          <p:nvPr>
            <p:ph type="body" sz="quarter" idx="54" hasCustomPrompt="1"/>
          </p:nvPr>
        </p:nvSpPr>
        <p:spPr>
          <a:xfrm>
            <a:off x="482866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72" name="Pladsholder til tekst 63"/>
          <p:cNvSpPr>
            <a:spLocks noGrp="1"/>
          </p:cNvSpPr>
          <p:nvPr>
            <p:ph type="body" sz="quarter" idx="55" hasCustomPrompt="1"/>
          </p:nvPr>
        </p:nvSpPr>
        <p:spPr>
          <a:xfrm>
            <a:off x="482866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74" name="Picture Placeholder 9"/>
          <p:cNvSpPr>
            <a:spLocks noGrp="1"/>
          </p:cNvSpPr>
          <p:nvPr>
            <p:ph type="pic" sz="quarter" idx="57" hasCustomPrompt="1"/>
          </p:nvPr>
        </p:nvSpPr>
        <p:spPr>
          <a:xfrm>
            <a:off x="705183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75" name="Pladsholder til tekst 62"/>
          <p:cNvSpPr>
            <a:spLocks noGrp="1"/>
          </p:cNvSpPr>
          <p:nvPr>
            <p:ph type="body" sz="quarter" idx="58" hasCustomPrompt="1"/>
          </p:nvPr>
        </p:nvSpPr>
        <p:spPr>
          <a:xfrm>
            <a:off x="705183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76" name="Pladsholder til tekst 63"/>
          <p:cNvSpPr>
            <a:spLocks noGrp="1"/>
          </p:cNvSpPr>
          <p:nvPr>
            <p:ph type="body" sz="quarter" idx="59" hasCustomPrompt="1"/>
          </p:nvPr>
        </p:nvSpPr>
        <p:spPr>
          <a:xfrm>
            <a:off x="705183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6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TextBox 72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7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52" name="Oval 51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56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57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13849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>
            <a:cxnSpLocks/>
          </p:cNvCxnSpPr>
          <p:nvPr userDrawn="1"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30" name="Pladsholder til tekst 20"/>
          <p:cNvSpPr>
            <a:spLocks noGrp="1"/>
          </p:cNvSpPr>
          <p:nvPr>
            <p:ph type="body" sz="quarter" idx="36" hasCustomPrompt="1"/>
          </p:nvPr>
        </p:nvSpPr>
        <p:spPr>
          <a:xfrm>
            <a:off x="4582711" y="3424147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LinkedIn</a:t>
            </a:r>
            <a:r>
              <a:rPr lang="en-GB" spc="11" dirty="0"/>
              <a:t> ID</a:t>
            </a:r>
            <a:endParaRPr lang="en-GB" dirty="0"/>
          </a:p>
        </p:txBody>
      </p:sp>
      <p:sp>
        <p:nvSpPr>
          <p:cNvPr id="31" name="Pladsholder til tekst 22"/>
          <p:cNvSpPr>
            <a:spLocks noGrp="1"/>
          </p:cNvSpPr>
          <p:nvPr>
            <p:ph type="body" sz="quarter" idx="38" hasCustomPrompt="1"/>
          </p:nvPr>
        </p:nvSpPr>
        <p:spPr>
          <a:xfrm>
            <a:off x="4582711" y="3705695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witter ID</a:t>
            </a:r>
          </a:p>
        </p:txBody>
      </p:sp>
      <p:pic>
        <p:nvPicPr>
          <p:cNvPr id="32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3365682"/>
            <a:ext cx="263124" cy="26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863" y="3611980"/>
            <a:ext cx="333624" cy="33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hank You						 </a:t>
            </a:r>
            <a:br>
              <a:rPr lang="en-US" dirty="0"/>
            </a:br>
            <a:r>
              <a:rPr lang="en-US" dirty="0"/>
              <a:t>for your time					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437856"/>
            <a:ext cx="2732400" cy="229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43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1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_optional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>
            <a:cxnSpLocks/>
          </p:cNvCxnSpPr>
          <p:nvPr userDrawn="1"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2002166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hank You						 </a:t>
            </a:r>
            <a:br>
              <a:rPr lang="en-US" dirty="0"/>
            </a:br>
            <a:r>
              <a:rPr lang="en-US" dirty="0"/>
              <a:t>for your time					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437856"/>
            <a:ext cx="2732400" cy="229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128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lient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67200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Insert Title Here				 </a:t>
            </a:r>
            <a:br>
              <a:rPr lang="en-US" dirty="0"/>
            </a:br>
            <a:r>
              <a:rPr lang="en-US" dirty="0"/>
              <a:t>in two lines						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0" y="3348038"/>
            <a:ext cx="3190875" cy="139770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at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70754" y="1926880"/>
            <a:ext cx="1645233" cy="1316432"/>
          </a:xfrm>
          <a:prstGeom prst="rect">
            <a:avLst/>
          </a:prstGeom>
        </p:spPr>
      </p:pic>
      <p:sp>
        <p:nvSpPr>
          <p:cNvPr id="1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42673" y="1955800"/>
            <a:ext cx="1181100" cy="1231900"/>
          </a:xfr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657412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1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Client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hank You						 </a:t>
            </a:r>
            <a:br>
              <a:rPr lang="en-US" dirty="0"/>
            </a:br>
            <a:r>
              <a:rPr lang="en-US" dirty="0"/>
              <a:t>for your time					</a:t>
            </a:r>
          </a:p>
        </p:txBody>
      </p:sp>
      <p:sp>
        <p:nvSpPr>
          <p:cNvPr id="2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29" name="Pladsholder til tekst 20"/>
          <p:cNvSpPr>
            <a:spLocks noGrp="1"/>
          </p:cNvSpPr>
          <p:nvPr>
            <p:ph type="body" sz="quarter" idx="36" hasCustomPrompt="1"/>
          </p:nvPr>
        </p:nvSpPr>
        <p:spPr>
          <a:xfrm>
            <a:off x="4582711" y="3424147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LinkedIn</a:t>
            </a:r>
            <a:r>
              <a:rPr lang="en-GB" spc="11" dirty="0"/>
              <a:t> ID</a:t>
            </a:r>
            <a:endParaRPr lang="en-GB" dirty="0"/>
          </a:p>
        </p:txBody>
      </p:sp>
      <p:sp>
        <p:nvSpPr>
          <p:cNvPr id="30" name="Pladsholder til tekst 22"/>
          <p:cNvSpPr>
            <a:spLocks noGrp="1"/>
          </p:cNvSpPr>
          <p:nvPr>
            <p:ph type="body" sz="quarter" idx="38" hasCustomPrompt="1"/>
          </p:nvPr>
        </p:nvSpPr>
        <p:spPr>
          <a:xfrm>
            <a:off x="4582711" y="3705695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witter ID</a:t>
            </a:r>
          </a:p>
        </p:txBody>
      </p:sp>
      <p:pic>
        <p:nvPicPr>
          <p:cNvPr id="31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3365682"/>
            <a:ext cx="263124" cy="26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863" y="3611980"/>
            <a:ext cx="333624" cy="33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70754" y="1926880"/>
            <a:ext cx="1645233" cy="1316432"/>
          </a:xfrm>
          <a:prstGeom prst="rect">
            <a:avLst/>
          </a:prstGeom>
        </p:spPr>
      </p:pic>
      <p:sp>
        <p:nvSpPr>
          <p:cNvPr id="1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42673" y="1955800"/>
            <a:ext cx="1181100" cy="1231900"/>
          </a:xfr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334576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661" y="1719112"/>
            <a:ext cx="2193893" cy="175217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 anchor="b"/>
          <a:lstStyle>
            <a:lvl1pPr>
              <a:buNone/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Insert Title Here in Two Lines</a:t>
            </a:r>
          </a:p>
        </p:txBody>
      </p:sp>
      <p:cxnSp>
        <p:nvCxnSpPr>
          <p:cNvPr id="38" name="Straight Connector 37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rgbClr val="F2F2F2">
                <a:lumMod val="50000"/>
              </a:srgbClr>
            </a:solidFill>
            <a:miter lim="400000"/>
          </a:ln>
        </p:spPr>
      </p:cxn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20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20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1" y="3348038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43" name="Group 4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203" name="Straight Connector 2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201" name="Straight Connector 2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9" name="Straight Connector 1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7" name="Straight Connector 1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5" name="Straight Connector 1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3" name="Straight Connector 1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1" name="Straight Connector 1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9" name="Straight Connector 1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Group 80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oup 81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05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1799349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1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  <p:cxnSp>
        <p:nvCxnSpPr>
          <p:cNvPr id="172" name="Lige forbindelse 8"/>
          <p:cNvCxnSpPr>
            <a:cxnSpLocks/>
          </p:cNvCxnSpPr>
          <p:nvPr userDrawn="1"/>
        </p:nvCxnSpPr>
        <p:spPr>
          <a:xfrm>
            <a:off x="7899752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Footer Placeholder 4"/>
          <p:cNvSpPr txBox="1">
            <a:spLocks/>
          </p:cNvSpPr>
          <p:nvPr userDrawn="1"/>
        </p:nvSpPr>
        <p:spPr>
          <a:xfrm>
            <a:off x="7899751" y="4975674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rgbClr val="646363"/>
                </a:solidFill>
                <a:latin typeface="Trebuchet MS"/>
                <a:sym typeface="+mn-lt"/>
              </a:rPr>
              <a:t>©</a:t>
            </a:r>
          </a:p>
        </p:txBody>
      </p:sp>
      <p:sp>
        <p:nvSpPr>
          <p:cNvPr id="174" name="Freeform 5"/>
          <p:cNvSpPr>
            <a:spLocks noEditPoints="1"/>
          </p:cNvSpPr>
          <p:nvPr userDrawn="1"/>
        </p:nvSpPr>
        <p:spPr bwMode="auto">
          <a:xfrm>
            <a:off x="8002023" y="4978055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5" name="TextBox 174"/>
          <p:cNvSpPr txBox="1"/>
          <p:nvPr userDrawn="1"/>
        </p:nvSpPr>
        <p:spPr>
          <a:xfrm>
            <a:off x="8264669" y="4933519"/>
            <a:ext cx="6135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US" sz="600" dirty="0">
                <a:solidFill>
                  <a:srgbClr val="646363"/>
                </a:solidFill>
                <a:sym typeface="+mn-lt"/>
              </a:rPr>
              <a:t>confidential</a:t>
            </a:r>
          </a:p>
        </p:txBody>
      </p:sp>
      <p:grpSp>
        <p:nvGrpSpPr>
          <p:cNvPr id="176" name="Group 175"/>
          <p:cNvGrpSpPr/>
          <p:nvPr userDrawn="1"/>
        </p:nvGrpSpPr>
        <p:grpSpPr>
          <a:xfrm>
            <a:off x="71949" y="4978615"/>
            <a:ext cx="503788" cy="94721"/>
            <a:chOff x="6014087" y="4646472"/>
            <a:chExt cx="503788" cy="94721"/>
          </a:xfrm>
        </p:grpSpPr>
        <p:sp>
          <p:nvSpPr>
            <p:cNvPr id="177" name="Oval 176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r>
                <a:rPr lang="en-US" sz="1800" dirty="0">
                  <a:solidFill>
                    <a:srgbClr val="000000"/>
                  </a:solidFill>
                  <a:sym typeface="+mn-lt"/>
                </a:rPr>
                <a:t> </a:t>
              </a:r>
            </a:p>
          </p:txBody>
        </p:sp>
        <p:sp>
          <p:nvSpPr>
            <p:cNvPr id="178" name="Oval 177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79" name="Oval 178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0" name="Oval 179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1" name="Oval 180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428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468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1" name="Group 1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0971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1781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4095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3365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987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9" name="Group 1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0" name="Straight Connector 17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1847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779308" y="1470758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8" name="Text Placeholder 38"/>
          <p:cNvSpPr>
            <a:spLocks noGrp="1"/>
          </p:cNvSpPr>
          <p:nvPr>
            <p:ph type="body" sz="quarter" idx="15" hasCustomPrompt="1"/>
          </p:nvPr>
        </p:nvSpPr>
        <p:spPr>
          <a:xfrm>
            <a:off x="230668" y="1373094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63070" y="254000"/>
            <a:ext cx="2191657" cy="519669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/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Agenda</a:t>
            </a:r>
          </a:p>
        </p:txBody>
      </p:sp>
      <p:sp>
        <p:nvSpPr>
          <p:cNvPr id="48" name="Text Placeholder 38"/>
          <p:cNvSpPr>
            <a:spLocks noGrp="1"/>
          </p:cNvSpPr>
          <p:nvPr>
            <p:ph type="body" sz="quarter" idx="16" hasCustomPrompt="1"/>
          </p:nvPr>
        </p:nvSpPr>
        <p:spPr>
          <a:xfrm>
            <a:off x="779308" y="1656945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49" name="Text Placeholder 38"/>
          <p:cNvSpPr>
            <a:spLocks noGrp="1"/>
          </p:cNvSpPr>
          <p:nvPr>
            <p:ph type="body" sz="quarter" idx="17" hasCustomPrompt="1"/>
          </p:nvPr>
        </p:nvSpPr>
        <p:spPr>
          <a:xfrm>
            <a:off x="779308" y="2347470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0" name="Text Placeholder 38"/>
          <p:cNvSpPr>
            <a:spLocks noGrp="1"/>
          </p:cNvSpPr>
          <p:nvPr>
            <p:ph type="body" sz="quarter" idx="18" hasCustomPrompt="1"/>
          </p:nvPr>
        </p:nvSpPr>
        <p:spPr>
          <a:xfrm>
            <a:off x="230668" y="2249806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1" name="Text Placeholder 38"/>
          <p:cNvSpPr>
            <a:spLocks noGrp="1"/>
          </p:cNvSpPr>
          <p:nvPr>
            <p:ph type="body" sz="quarter" idx="19" hasCustomPrompt="1"/>
          </p:nvPr>
        </p:nvSpPr>
        <p:spPr>
          <a:xfrm>
            <a:off x="779308" y="2533657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52" name="Text Placeholder 38"/>
          <p:cNvSpPr>
            <a:spLocks noGrp="1"/>
          </p:cNvSpPr>
          <p:nvPr>
            <p:ph type="body" sz="quarter" idx="20" hasCustomPrompt="1"/>
          </p:nvPr>
        </p:nvSpPr>
        <p:spPr>
          <a:xfrm>
            <a:off x="779308" y="3222736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3" name="Text Placeholder 38"/>
          <p:cNvSpPr>
            <a:spLocks noGrp="1"/>
          </p:cNvSpPr>
          <p:nvPr>
            <p:ph type="body" sz="quarter" idx="21" hasCustomPrompt="1"/>
          </p:nvPr>
        </p:nvSpPr>
        <p:spPr>
          <a:xfrm>
            <a:off x="230668" y="3125072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4" name="Text Placeholder 38"/>
          <p:cNvSpPr>
            <a:spLocks noGrp="1"/>
          </p:cNvSpPr>
          <p:nvPr>
            <p:ph type="body" sz="quarter" idx="22" hasCustomPrompt="1"/>
          </p:nvPr>
        </p:nvSpPr>
        <p:spPr>
          <a:xfrm>
            <a:off x="779308" y="3408923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55" name="Text Placeholder 38"/>
          <p:cNvSpPr>
            <a:spLocks noGrp="1"/>
          </p:cNvSpPr>
          <p:nvPr>
            <p:ph type="body" sz="quarter" idx="23" hasCustomPrompt="1"/>
          </p:nvPr>
        </p:nvSpPr>
        <p:spPr>
          <a:xfrm>
            <a:off x="779308" y="4057114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6" name="Text Placeholder 38"/>
          <p:cNvSpPr>
            <a:spLocks noGrp="1"/>
          </p:cNvSpPr>
          <p:nvPr>
            <p:ph type="body" sz="quarter" idx="24" hasCustomPrompt="1"/>
          </p:nvPr>
        </p:nvSpPr>
        <p:spPr>
          <a:xfrm>
            <a:off x="230668" y="3959450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7" name="Text Placeholder 38"/>
          <p:cNvSpPr>
            <a:spLocks noGrp="1"/>
          </p:cNvSpPr>
          <p:nvPr>
            <p:ph type="body" sz="quarter" idx="25" hasCustomPrompt="1"/>
          </p:nvPr>
        </p:nvSpPr>
        <p:spPr>
          <a:xfrm>
            <a:off x="779308" y="4243301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58" name="Text Placeholder 38"/>
          <p:cNvSpPr>
            <a:spLocks noGrp="1"/>
          </p:cNvSpPr>
          <p:nvPr>
            <p:ph type="body" sz="quarter" idx="26" hasCustomPrompt="1"/>
          </p:nvPr>
        </p:nvSpPr>
        <p:spPr>
          <a:xfrm>
            <a:off x="5164271" y="1470758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9" name="Text Placeholder 38"/>
          <p:cNvSpPr>
            <a:spLocks noGrp="1"/>
          </p:cNvSpPr>
          <p:nvPr>
            <p:ph type="body" sz="quarter" idx="27" hasCustomPrompt="1"/>
          </p:nvPr>
        </p:nvSpPr>
        <p:spPr>
          <a:xfrm>
            <a:off x="4615631" y="1373094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60" name="Text Placeholder 38"/>
          <p:cNvSpPr>
            <a:spLocks noGrp="1"/>
          </p:cNvSpPr>
          <p:nvPr>
            <p:ph type="body" sz="quarter" idx="28" hasCustomPrompt="1"/>
          </p:nvPr>
        </p:nvSpPr>
        <p:spPr>
          <a:xfrm>
            <a:off x="5164271" y="1656945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61" name="Text Placeholder 38"/>
          <p:cNvSpPr>
            <a:spLocks noGrp="1"/>
          </p:cNvSpPr>
          <p:nvPr>
            <p:ph type="body" sz="quarter" idx="29" hasCustomPrompt="1"/>
          </p:nvPr>
        </p:nvSpPr>
        <p:spPr>
          <a:xfrm>
            <a:off x="5164271" y="2347470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2" name="Text Placeholder 38"/>
          <p:cNvSpPr>
            <a:spLocks noGrp="1"/>
          </p:cNvSpPr>
          <p:nvPr>
            <p:ph type="body" sz="quarter" idx="30" hasCustomPrompt="1"/>
          </p:nvPr>
        </p:nvSpPr>
        <p:spPr>
          <a:xfrm>
            <a:off x="4615631" y="2249806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3" name="Text Placeholder 38"/>
          <p:cNvSpPr>
            <a:spLocks noGrp="1"/>
          </p:cNvSpPr>
          <p:nvPr>
            <p:ph type="body" sz="quarter" idx="31" hasCustomPrompt="1"/>
          </p:nvPr>
        </p:nvSpPr>
        <p:spPr>
          <a:xfrm>
            <a:off x="5164271" y="2533657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64" name="Text Placeholder 38"/>
          <p:cNvSpPr>
            <a:spLocks noGrp="1"/>
          </p:cNvSpPr>
          <p:nvPr>
            <p:ph type="body" sz="quarter" idx="32" hasCustomPrompt="1"/>
          </p:nvPr>
        </p:nvSpPr>
        <p:spPr>
          <a:xfrm>
            <a:off x="5164271" y="3222736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5" name="Text Placeholder 38"/>
          <p:cNvSpPr>
            <a:spLocks noGrp="1"/>
          </p:cNvSpPr>
          <p:nvPr>
            <p:ph type="body" sz="quarter" idx="33" hasCustomPrompt="1"/>
          </p:nvPr>
        </p:nvSpPr>
        <p:spPr>
          <a:xfrm>
            <a:off x="4615631" y="3125072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6" name="Text Placeholder 38"/>
          <p:cNvSpPr>
            <a:spLocks noGrp="1"/>
          </p:cNvSpPr>
          <p:nvPr>
            <p:ph type="body" sz="quarter" idx="34" hasCustomPrompt="1"/>
          </p:nvPr>
        </p:nvSpPr>
        <p:spPr>
          <a:xfrm>
            <a:off x="5164271" y="3408923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77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8" name="TextBox 77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79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38" name="Oval 3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9" name="Oval 3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4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4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51990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9" name="Group 1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5806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2692799"/>
            <a:ext cx="1023938" cy="253722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0044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2552121"/>
            <a:ext cx="2021000" cy="2596309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9844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4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2545795"/>
            <a:ext cx="973931" cy="2678906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7" name="Group 1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2090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2562225"/>
            <a:ext cx="2021000" cy="258127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55782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692204"/>
            <a:ext cx="1023938" cy="253722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6897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271483" y="2558909"/>
            <a:ext cx="2021000" cy="2592413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83480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2692204"/>
            <a:ext cx="1023938" cy="253722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4136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2555853"/>
            <a:ext cx="2021000" cy="2592413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392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502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eyfade-jon-flobrant-19346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56749" y="0"/>
            <a:ext cx="6502359" cy="4702629"/>
          </a:xfrm>
          <a:prstGeom prst="rect">
            <a:avLst/>
          </a:prstGeom>
        </p:spPr>
      </p:pic>
      <p:sp>
        <p:nvSpPr>
          <p:cNvPr id="21" name="object 5"/>
          <p:cNvSpPr/>
          <p:nvPr userDrawn="1"/>
        </p:nvSpPr>
        <p:spPr>
          <a:xfrm>
            <a:off x="8432007" y="2232419"/>
            <a:ext cx="462845" cy="46284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6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5"/>
          <p:cNvSpPr/>
          <p:nvPr userDrawn="1"/>
        </p:nvSpPr>
        <p:spPr>
          <a:xfrm>
            <a:off x="7724016" y="3569542"/>
            <a:ext cx="391505" cy="39150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4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5"/>
          <p:cNvSpPr/>
          <p:nvPr userDrawn="1"/>
        </p:nvSpPr>
        <p:spPr>
          <a:xfrm>
            <a:off x="6081105" y="1637694"/>
            <a:ext cx="357794" cy="357794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5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bject 5"/>
          <p:cNvSpPr/>
          <p:nvPr userDrawn="1"/>
        </p:nvSpPr>
        <p:spPr>
          <a:xfrm>
            <a:off x="5442627" y="3131136"/>
            <a:ext cx="347870" cy="347870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3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bject 5"/>
          <p:cNvSpPr/>
          <p:nvPr userDrawn="1"/>
        </p:nvSpPr>
        <p:spPr>
          <a:xfrm>
            <a:off x="6381750" y="2509319"/>
            <a:ext cx="240507" cy="240507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tx2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54000" y="1765241"/>
            <a:ext cx="5534025" cy="2817517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ection name </a:t>
            </a:r>
            <a:br>
              <a:rPr lang="en-US" dirty="0"/>
            </a:br>
            <a:r>
              <a:rPr lang="en-US" dirty="0"/>
              <a:t>here in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22446" y="428217"/>
            <a:ext cx="1052514" cy="84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107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30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6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76083"/>
            <a:ext cx="576943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solidFill>
                <a:srgbClr val="000000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8297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6024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604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1" name="Group 1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2986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7948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/>
          <a:lstStyle>
            <a:lvl1pPr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Thank You</a:t>
            </a:r>
            <a:br>
              <a:rPr lang="en-US" dirty="0"/>
            </a:br>
            <a:r>
              <a:rPr lang="en-US" dirty="0"/>
              <a:t>for Your tim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14875" y="3348038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LinkedIn ID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14875" y="3594224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Twitter ID</a:t>
            </a:r>
          </a:p>
        </p:txBody>
      </p:sp>
      <p:pic>
        <p:nvPicPr>
          <p:cNvPr id="23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365" y="3318988"/>
            <a:ext cx="210500" cy="21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028" y="3536974"/>
            <a:ext cx="266900" cy="2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69" y="1709011"/>
            <a:ext cx="2193893" cy="1752170"/>
          </a:xfrm>
          <a:prstGeom prst="rect">
            <a:avLst/>
          </a:prstGeom>
        </p:spPr>
      </p:pic>
      <p:grpSp>
        <p:nvGrpSpPr>
          <p:cNvPr id="26" name="Group 2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8435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rgbClr val="FFFFFF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665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rgbClr val="F2F2F2">
                <a:lumMod val="50000"/>
              </a:srgbClr>
            </a:solidFill>
            <a:miter lim="400000"/>
          </a:ln>
        </p:spPr>
      </p:cxnSp>
      <p:grpSp>
        <p:nvGrpSpPr>
          <p:cNvPr id="30" name="Group 2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31" name="Group 3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1" name="Straight Connector 1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9" name="Straight Connector 1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 anchor="b"/>
          <a:lstStyle>
            <a:lvl1pPr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Insert Title Here in Two Lines</a:t>
            </a:r>
          </a:p>
        </p:txBody>
      </p:sp>
      <p:sp>
        <p:nvSpPr>
          <p:cNvPr id="19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19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9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1" y="3348038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98" name="Picture 19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69" y="1709011"/>
            <a:ext cx="2193893" cy="1752170"/>
          </a:xfrm>
          <a:prstGeom prst="rect">
            <a:avLst/>
          </a:prstGeom>
        </p:spPr>
      </p:pic>
      <p:pic>
        <p:nvPicPr>
          <p:cNvPr id="200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9144000" cy="395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38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3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  <p:cxnSp>
        <p:nvCxnSpPr>
          <p:cNvPr id="174" name="Lige forbindelse 8"/>
          <p:cNvCxnSpPr>
            <a:cxnSpLocks/>
          </p:cNvCxnSpPr>
          <p:nvPr userDrawn="1"/>
        </p:nvCxnSpPr>
        <p:spPr>
          <a:xfrm>
            <a:off x="7899752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Footer Placeholder 4"/>
          <p:cNvSpPr txBox="1">
            <a:spLocks/>
          </p:cNvSpPr>
          <p:nvPr userDrawn="1"/>
        </p:nvSpPr>
        <p:spPr>
          <a:xfrm>
            <a:off x="7899751" y="4975674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rgbClr val="646363"/>
                </a:solidFill>
                <a:latin typeface="Trebuchet MS"/>
                <a:sym typeface="+mn-lt"/>
              </a:rPr>
              <a:t>©</a:t>
            </a:r>
          </a:p>
        </p:txBody>
      </p:sp>
      <p:sp>
        <p:nvSpPr>
          <p:cNvPr id="176" name="Freeform 5"/>
          <p:cNvSpPr>
            <a:spLocks noEditPoints="1"/>
          </p:cNvSpPr>
          <p:nvPr userDrawn="1"/>
        </p:nvSpPr>
        <p:spPr bwMode="auto">
          <a:xfrm>
            <a:off x="8002023" y="4978055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7" name="TextBox 176"/>
          <p:cNvSpPr txBox="1"/>
          <p:nvPr userDrawn="1"/>
        </p:nvSpPr>
        <p:spPr>
          <a:xfrm>
            <a:off x="8264669" y="4933519"/>
            <a:ext cx="6135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US" sz="600" dirty="0">
                <a:solidFill>
                  <a:srgbClr val="646363"/>
                </a:solidFill>
                <a:sym typeface="+mn-lt"/>
              </a:rPr>
              <a:t>confidential</a:t>
            </a:r>
          </a:p>
        </p:txBody>
      </p:sp>
      <p:grpSp>
        <p:nvGrpSpPr>
          <p:cNvPr id="178" name="Group 177"/>
          <p:cNvGrpSpPr/>
          <p:nvPr userDrawn="1"/>
        </p:nvGrpSpPr>
        <p:grpSpPr>
          <a:xfrm>
            <a:off x="71949" y="4978615"/>
            <a:ext cx="503788" cy="94721"/>
            <a:chOff x="6014087" y="4646472"/>
            <a:chExt cx="503788" cy="94721"/>
          </a:xfrm>
        </p:grpSpPr>
        <p:sp>
          <p:nvSpPr>
            <p:cNvPr id="179" name="Oval 17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r>
                <a:rPr lang="en-US" sz="1800" dirty="0">
                  <a:solidFill>
                    <a:srgbClr val="000000"/>
                  </a:solidFill>
                  <a:sym typeface="+mn-lt"/>
                </a:rPr>
                <a:t> </a:t>
              </a:r>
            </a:p>
          </p:txBody>
        </p:sp>
        <p:sp>
          <p:nvSpPr>
            <p:cNvPr id="180" name="Oval 17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1" name="Oval 180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2" name="Oval 18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3" name="Oval 182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356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 with Client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eyfade-jon-flobrant-19346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56749" y="0"/>
            <a:ext cx="6502359" cy="4702629"/>
          </a:xfrm>
          <a:prstGeom prst="rect">
            <a:avLst/>
          </a:prstGeom>
        </p:spPr>
      </p:pic>
      <p:sp>
        <p:nvSpPr>
          <p:cNvPr id="21" name="object 5"/>
          <p:cNvSpPr/>
          <p:nvPr userDrawn="1"/>
        </p:nvSpPr>
        <p:spPr>
          <a:xfrm>
            <a:off x="8432007" y="2232419"/>
            <a:ext cx="462845" cy="46284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6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5"/>
          <p:cNvSpPr/>
          <p:nvPr userDrawn="1"/>
        </p:nvSpPr>
        <p:spPr>
          <a:xfrm>
            <a:off x="7724016" y="3569542"/>
            <a:ext cx="391505" cy="39150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4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5"/>
          <p:cNvSpPr/>
          <p:nvPr userDrawn="1"/>
        </p:nvSpPr>
        <p:spPr>
          <a:xfrm>
            <a:off x="6081105" y="1637694"/>
            <a:ext cx="357794" cy="357794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5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bject 5"/>
          <p:cNvSpPr/>
          <p:nvPr userDrawn="1"/>
        </p:nvSpPr>
        <p:spPr>
          <a:xfrm>
            <a:off x="5442627" y="3131136"/>
            <a:ext cx="347870" cy="347870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3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bject 5"/>
          <p:cNvSpPr/>
          <p:nvPr userDrawn="1"/>
        </p:nvSpPr>
        <p:spPr>
          <a:xfrm>
            <a:off x="6381750" y="2509319"/>
            <a:ext cx="240507" cy="240507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tx2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54000" y="1765241"/>
            <a:ext cx="5534025" cy="2817517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ection name </a:t>
            </a:r>
            <a:br>
              <a:rPr lang="en-US" dirty="0"/>
            </a:br>
            <a:r>
              <a:rPr lang="en-US" dirty="0"/>
              <a:t>here in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22446" y="428217"/>
            <a:ext cx="1052514" cy="842169"/>
          </a:xfrm>
          <a:prstGeom prst="rect">
            <a:avLst/>
          </a:prstGeom>
        </p:spPr>
      </p:pic>
      <p:sp>
        <p:nvSpPr>
          <p:cNvPr id="1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544169" y="508000"/>
            <a:ext cx="647700" cy="673100"/>
          </a:xfrm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2383637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6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946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7697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2320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6918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2335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0" name="Group 1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0" name="Straight Connector 17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67402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9" name="Group 1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2766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8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2692799"/>
            <a:ext cx="1023938" cy="253722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7" name="Group 1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9470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 with Client/Partner logo &amp; Optional B/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657347" y="0"/>
            <a:ext cx="6489051" cy="47000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black &amp; white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22446" y="428217"/>
            <a:ext cx="1052514" cy="842169"/>
          </a:xfrm>
          <a:prstGeom prst="rect">
            <a:avLst/>
          </a:prstGeom>
        </p:spPr>
      </p:pic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544169" y="508000"/>
            <a:ext cx="647700" cy="673100"/>
          </a:xfrm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54000" y="1765241"/>
            <a:ext cx="5534025" cy="2817517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ection name </a:t>
            </a:r>
            <a:br>
              <a:rPr lang="en-US" dirty="0"/>
            </a:br>
            <a:r>
              <a:rPr lang="en-US" dirty="0"/>
              <a:t>here in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</p:spTree>
    <p:extLst>
      <p:ext uri="{BB962C8B-B14F-4D97-AF65-F5344CB8AC3E}">
        <p14:creationId xmlns:p14="http://schemas.microsoft.com/office/powerpoint/2010/main" val="66880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2552121"/>
            <a:ext cx="2021000" cy="2596309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6818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2545795"/>
            <a:ext cx="973931" cy="2678906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9625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2562225"/>
            <a:ext cx="2021000" cy="258127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99059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692204"/>
            <a:ext cx="1023938" cy="253722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2527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2555853"/>
            <a:ext cx="2021000" cy="2592413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5950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023623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7" name="Group 1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45615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2555853"/>
            <a:ext cx="2021000" cy="2592413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1393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5582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291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76083"/>
            <a:ext cx="576943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solidFill>
                <a:srgbClr val="000000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4803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er without im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4"/>
          <p:cNvSpPr/>
          <p:nvPr/>
        </p:nvSpPr>
        <p:spPr>
          <a:xfrm>
            <a:off x="-114300" y="-25400"/>
            <a:ext cx="4671298" cy="4076763"/>
          </a:xfrm>
          <a:custGeom>
            <a:avLst/>
            <a:gdLst/>
            <a:ahLst/>
            <a:cxnLst/>
            <a:rect l="l" t="t" r="r" b="b"/>
            <a:pathLst>
              <a:path w="10193348" h="8895999">
                <a:moveTo>
                  <a:pt x="8488661" y="0"/>
                </a:moveTo>
                <a:lnTo>
                  <a:pt x="1704683" y="0"/>
                </a:lnTo>
                <a:lnTo>
                  <a:pt x="1492780" y="195439"/>
                </a:lnTo>
                <a:lnTo>
                  <a:pt x="1209152" y="502960"/>
                </a:lnTo>
                <a:lnTo>
                  <a:pt x="955379" y="827176"/>
                </a:lnTo>
                <a:lnTo>
                  <a:pt x="731462" y="1166233"/>
                </a:lnTo>
                <a:lnTo>
                  <a:pt x="537401" y="1518274"/>
                </a:lnTo>
                <a:lnTo>
                  <a:pt x="373195" y="1881445"/>
                </a:lnTo>
                <a:lnTo>
                  <a:pt x="238844" y="2253892"/>
                </a:lnTo>
                <a:lnTo>
                  <a:pt x="134350" y="2633758"/>
                </a:lnTo>
                <a:lnTo>
                  <a:pt x="59711" y="3019189"/>
                </a:lnTo>
                <a:lnTo>
                  <a:pt x="14927" y="3408331"/>
                </a:lnTo>
                <a:lnTo>
                  <a:pt x="0" y="3799327"/>
                </a:lnTo>
                <a:lnTo>
                  <a:pt x="14927" y="4190324"/>
                </a:lnTo>
                <a:lnTo>
                  <a:pt x="59711" y="4579465"/>
                </a:lnTo>
                <a:lnTo>
                  <a:pt x="134350" y="4964896"/>
                </a:lnTo>
                <a:lnTo>
                  <a:pt x="238844" y="5344763"/>
                </a:lnTo>
                <a:lnTo>
                  <a:pt x="373195" y="5717209"/>
                </a:lnTo>
                <a:lnTo>
                  <a:pt x="537401" y="6080381"/>
                </a:lnTo>
                <a:lnTo>
                  <a:pt x="731462" y="6432423"/>
                </a:lnTo>
                <a:lnTo>
                  <a:pt x="955379" y="6771479"/>
                </a:lnTo>
                <a:lnTo>
                  <a:pt x="1209152" y="7095696"/>
                </a:lnTo>
                <a:lnTo>
                  <a:pt x="1492780" y="7403218"/>
                </a:lnTo>
                <a:lnTo>
                  <a:pt x="1800302" y="7686847"/>
                </a:lnTo>
                <a:lnTo>
                  <a:pt x="2124519" y="7940619"/>
                </a:lnTo>
                <a:lnTo>
                  <a:pt x="2463576" y="8164537"/>
                </a:lnTo>
                <a:lnTo>
                  <a:pt x="2815618" y="8358598"/>
                </a:lnTo>
                <a:lnTo>
                  <a:pt x="3178790" y="8522804"/>
                </a:lnTo>
                <a:lnTo>
                  <a:pt x="3551236" y="8657154"/>
                </a:lnTo>
                <a:lnTo>
                  <a:pt x="3931103" y="8761649"/>
                </a:lnTo>
                <a:lnTo>
                  <a:pt x="4316535" y="8836288"/>
                </a:lnTo>
                <a:lnTo>
                  <a:pt x="4705676" y="8881071"/>
                </a:lnTo>
                <a:lnTo>
                  <a:pt x="5096673" y="8895999"/>
                </a:lnTo>
                <a:lnTo>
                  <a:pt x="5487669" y="8881071"/>
                </a:lnTo>
                <a:lnTo>
                  <a:pt x="5876811" y="8836288"/>
                </a:lnTo>
                <a:lnTo>
                  <a:pt x="6262242" y="8761649"/>
                </a:lnTo>
                <a:lnTo>
                  <a:pt x="6642109" y="8657154"/>
                </a:lnTo>
                <a:lnTo>
                  <a:pt x="7014555" y="8522804"/>
                </a:lnTo>
                <a:lnTo>
                  <a:pt x="7377727" y="8358598"/>
                </a:lnTo>
                <a:lnTo>
                  <a:pt x="7729769" y="8164537"/>
                </a:lnTo>
                <a:lnTo>
                  <a:pt x="8068825" y="7940619"/>
                </a:lnTo>
                <a:lnTo>
                  <a:pt x="8393042" y="7686847"/>
                </a:lnTo>
                <a:lnTo>
                  <a:pt x="8700564" y="7403218"/>
                </a:lnTo>
                <a:lnTo>
                  <a:pt x="8984193" y="7095696"/>
                </a:lnTo>
                <a:lnTo>
                  <a:pt x="9237966" y="6771479"/>
                </a:lnTo>
                <a:lnTo>
                  <a:pt x="9461884" y="6432423"/>
                </a:lnTo>
                <a:lnTo>
                  <a:pt x="9655946" y="6080381"/>
                </a:lnTo>
                <a:lnTo>
                  <a:pt x="9820152" y="5717209"/>
                </a:lnTo>
                <a:lnTo>
                  <a:pt x="9954502" y="5344763"/>
                </a:lnTo>
                <a:lnTo>
                  <a:pt x="10058997" y="4964896"/>
                </a:lnTo>
                <a:lnTo>
                  <a:pt x="10133636" y="4579465"/>
                </a:lnTo>
                <a:lnTo>
                  <a:pt x="10178420" y="4190324"/>
                </a:lnTo>
                <a:lnTo>
                  <a:pt x="10193348" y="3799327"/>
                </a:lnTo>
                <a:lnTo>
                  <a:pt x="10178420" y="3408331"/>
                </a:lnTo>
                <a:lnTo>
                  <a:pt x="10133636" y="3019189"/>
                </a:lnTo>
                <a:lnTo>
                  <a:pt x="10058997" y="2633758"/>
                </a:lnTo>
                <a:lnTo>
                  <a:pt x="9954502" y="2253892"/>
                </a:lnTo>
                <a:lnTo>
                  <a:pt x="9820152" y="1881445"/>
                </a:lnTo>
                <a:lnTo>
                  <a:pt x="9655946" y="1518274"/>
                </a:lnTo>
                <a:lnTo>
                  <a:pt x="9461884" y="1166233"/>
                </a:lnTo>
                <a:lnTo>
                  <a:pt x="9237966" y="827176"/>
                </a:lnTo>
                <a:lnTo>
                  <a:pt x="8984193" y="502960"/>
                </a:lnTo>
                <a:lnTo>
                  <a:pt x="8700564" y="195439"/>
                </a:lnTo>
                <a:lnTo>
                  <a:pt x="8488661" y="0"/>
                </a:lnTo>
                <a:close/>
              </a:path>
            </a:pathLst>
          </a:custGeom>
          <a:solidFill>
            <a:srgbClr val="FFDB2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+mn-lt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13836" y="914400"/>
            <a:ext cx="6946900" cy="1219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3600" spc="-55" dirty="0">
                <a:solidFill>
                  <a:srgbClr val="0D35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5394"/>
            <a: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  <a:t>Headline placeholder</a:t>
            </a:r>
            <a:b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i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t</a:t>
            </a:r>
            <a:r>
              <a:rPr lang="en-US" sz="3600" b="1" u="sng" spc="-85" dirty="0">
                <a:solidFill>
                  <a:srgbClr val="0D356E"/>
                </a:solidFill>
                <a:latin typeface="+mn-lt"/>
                <a:cs typeface="Arial"/>
              </a:rPr>
              <a:t>w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o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li</a:t>
            </a:r>
            <a:r>
              <a:rPr lang="en-US" sz="3600" b="1" u="sng" spc="-73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1" dirty="0">
                <a:solidFill>
                  <a:srgbClr val="0D356E"/>
                </a:solidFill>
                <a:latin typeface="+mn-lt"/>
                <a:cs typeface="Arial"/>
              </a:rPr>
              <a:t>es</a:t>
            </a:r>
            <a:endParaRPr lang="en-US" sz="3600" u="sng" dirty="0">
              <a:latin typeface="+mn-lt"/>
              <a:cs typeface="Arial"/>
            </a:endParaRPr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457" y="3844395"/>
            <a:ext cx="1314000" cy="1103406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4484252" y="2897813"/>
            <a:ext cx="3118452" cy="641536"/>
            <a:chOff x="4484252" y="2897813"/>
            <a:chExt cx="3118452" cy="641536"/>
          </a:xfrm>
        </p:grpSpPr>
        <p:sp>
          <p:nvSpPr>
            <p:cNvPr id="38" name="object 8"/>
            <p:cNvSpPr/>
            <p:nvPr userDrawn="1"/>
          </p:nvSpPr>
          <p:spPr>
            <a:xfrm>
              <a:off x="6962624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4127753" h="4127749">
                  <a:moveTo>
                    <a:pt x="2063876" y="0"/>
                  </a:moveTo>
                  <a:lnTo>
                    <a:pt x="1905544" y="6044"/>
                  </a:lnTo>
                  <a:lnTo>
                    <a:pt x="1747964" y="24179"/>
                  </a:lnTo>
                  <a:lnTo>
                    <a:pt x="1591885" y="54404"/>
                  </a:lnTo>
                  <a:lnTo>
                    <a:pt x="1438060" y="96719"/>
                  </a:lnTo>
                  <a:lnTo>
                    <a:pt x="1287239" y="151123"/>
                  </a:lnTo>
                  <a:lnTo>
                    <a:pt x="1140175" y="217618"/>
                  </a:lnTo>
                  <a:lnTo>
                    <a:pt x="997617" y="296202"/>
                  </a:lnTo>
                  <a:lnTo>
                    <a:pt x="860317" y="386876"/>
                  </a:lnTo>
                  <a:lnTo>
                    <a:pt x="729027" y="489640"/>
                  </a:lnTo>
                  <a:lnTo>
                    <a:pt x="604497" y="604494"/>
                  </a:lnTo>
                  <a:lnTo>
                    <a:pt x="489642" y="729024"/>
                  </a:lnTo>
                  <a:lnTo>
                    <a:pt x="386878" y="860314"/>
                  </a:lnTo>
                  <a:lnTo>
                    <a:pt x="296203" y="997614"/>
                  </a:lnTo>
                  <a:lnTo>
                    <a:pt x="217619" y="1140171"/>
                  </a:lnTo>
                  <a:lnTo>
                    <a:pt x="151124" y="1287236"/>
                  </a:lnTo>
                  <a:lnTo>
                    <a:pt x="96719" y="1438057"/>
                  </a:lnTo>
                  <a:lnTo>
                    <a:pt x="54404" y="1591882"/>
                  </a:lnTo>
                  <a:lnTo>
                    <a:pt x="24179" y="1747961"/>
                  </a:lnTo>
                  <a:lnTo>
                    <a:pt x="6044" y="1905542"/>
                  </a:lnTo>
                  <a:lnTo>
                    <a:pt x="0" y="2063874"/>
                  </a:lnTo>
                  <a:lnTo>
                    <a:pt x="6044" y="2222206"/>
                  </a:lnTo>
                  <a:lnTo>
                    <a:pt x="24179" y="2379787"/>
                  </a:lnTo>
                  <a:lnTo>
                    <a:pt x="54404" y="2535866"/>
                  </a:lnTo>
                  <a:lnTo>
                    <a:pt x="96719" y="2689691"/>
                  </a:lnTo>
                  <a:lnTo>
                    <a:pt x="151124" y="2840512"/>
                  </a:lnTo>
                  <a:lnTo>
                    <a:pt x="217619" y="2987577"/>
                  </a:lnTo>
                  <a:lnTo>
                    <a:pt x="296203" y="3130134"/>
                  </a:lnTo>
                  <a:lnTo>
                    <a:pt x="386878" y="3267434"/>
                  </a:lnTo>
                  <a:lnTo>
                    <a:pt x="489642" y="3398724"/>
                  </a:lnTo>
                  <a:lnTo>
                    <a:pt x="604497" y="3523254"/>
                  </a:lnTo>
                  <a:lnTo>
                    <a:pt x="729027" y="3638108"/>
                  </a:lnTo>
                  <a:lnTo>
                    <a:pt x="860317" y="3740872"/>
                  </a:lnTo>
                  <a:lnTo>
                    <a:pt x="997617" y="3831546"/>
                  </a:lnTo>
                  <a:lnTo>
                    <a:pt x="1140175" y="3910131"/>
                  </a:lnTo>
                  <a:lnTo>
                    <a:pt x="1287239" y="3976625"/>
                  </a:lnTo>
                  <a:lnTo>
                    <a:pt x="1438060" y="4031029"/>
                  </a:lnTo>
                  <a:lnTo>
                    <a:pt x="1591885" y="4073344"/>
                  </a:lnTo>
                  <a:lnTo>
                    <a:pt x="1747964" y="4103569"/>
                  </a:lnTo>
                  <a:lnTo>
                    <a:pt x="1905544" y="4121704"/>
                  </a:lnTo>
                  <a:lnTo>
                    <a:pt x="2063876" y="4127749"/>
                  </a:lnTo>
                  <a:lnTo>
                    <a:pt x="2222208" y="4121704"/>
                  </a:lnTo>
                  <a:lnTo>
                    <a:pt x="2379789" y="4103569"/>
                  </a:lnTo>
                  <a:lnTo>
                    <a:pt x="2535868" y="4073344"/>
                  </a:lnTo>
                  <a:lnTo>
                    <a:pt x="2689693" y="4031029"/>
                  </a:lnTo>
                  <a:lnTo>
                    <a:pt x="2840513" y="3976625"/>
                  </a:lnTo>
                  <a:lnTo>
                    <a:pt x="2987578" y="3910131"/>
                  </a:lnTo>
                  <a:lnTo>
                    <a:pt x="3130136" y="3831546"/>
                  </a:lnTo>
                  <a:lnTo>
                    <a:pt x="3267436" y="3740872"/>
                  </a:lnTo>
                  <a:lnTo>
                    <a:pt x="3398726" y="3638108"/>
                  </a:lnTo>
                  <a:lnTo>
                    <a:pt x="3523256" y="3523254"/>
                  </a:lnTo>
                  <a:lnTo>
                    <a:pt x="3638111" y="3398724"/>
                  </a:lnTo>
                  <a:lnTo>
                    <a:pt x="3740875" y="3267434"/>
                  </a:lnTo>
                  <a:lnTo>
                    <a:pt x="3831550" y="3130134"/>
                  </a:lnTo>
                  <a:lnTo>
                    <a:pt x="3910134" y="2987577"/>
                  </a:lnTo>
                  <a:lnTo>
                    <a:pt x="3976629" y="2840512"/>
                  </a:lnTo>
                  <a:lnTo>
                    <a:pt x="4031034" y="2689691"/>
                  </a:lnTo>
                  <a:lnTo>
                    <a:pt x="4073349" y="2535866"/>
                  </a:lnTo>
                  <a:lnTo>
                    <a:pt x="4103574" y="2379787"/>
                  </a:lnTo>
                  <a:lnTo>
                    <a:pt x="4121708" y="2222206"/>
                  </a:lnTo>
                  <a:lnTo>
                    <a:pt x="4127753" y="2063874"/>
                  </a:lnTo>
                  <a:lnTo>
                    <a:pt x="4121708" y="1905542"/>
                  </a:lnTo>
                  <a:lnTo>
                    <a:pt x="4103574" y="1747961"/>
                  </a:lnTo>
                  <a:lnTo>
                    <a:pt x="4073349" y="1591882"/>
                  </a:lnTo>
                  <a:lnTo>
                    <a:pt x="4031034" y="1438057"/>
                  </a:lnTo>
                  <a:lnTo>
                    <a:pt x="3976629" y="1287236"/>
                  </a:lnTo>
                  <a:lnTo>
                    <a:pt x="3910134" y="1140171"/>
                  </a:lnTo>
                  <a:lnTo>
                    <a:pt x="3831550" y="997614"/>
                  </a:lnTo>
                  <a:lnTo>
                    <a:pt x="3740875" y="860314"/>
                  </a:lnTo>
                  <a:lnTo>
                    <a:pt x="3638111" y="729024"/>
                  </a:lnTo>
                  <a:lnTo>
                    <a:pt x="3523256" y="604494"/>
                  </a:lnTo>
                  <a:lnTo>
                    <a:pt x="3398726" y="489640"/>
                  </a:lnTo>
                  <a:lnTo>
                    <a:pt x="3267436" y="386876"/>
                  </a:lnTo>
                  <a:lnTo>
                    <a:pt x="3130136" y="296202"/>
                  </a:lnTo>
                  <a:lnTo>
                    <a:pt x="2987578" y="217618"/>
                  </a:lnTo>
                  <a:lnTo>
                    <a:pt x="2840513" y="151123"/>
                  </a:lnTo>
                  <a:lnTo>
                    <a:pt x="2689693" y="96719"/>
                  </a:lnTo>
                  <a:lnTo>
                    <a:pt x="2535868" y="54404"/>
                  </a:lnTo>
                  <a:lnTo>
                    <a:pt x="2379789" y="24179"/>
                  </a:lnTo>
                  <a:lnTo>
                    <a:pt x="2222208" y="6044"/>
                  </a:lnTo>
                  <a:lnTo>
                    <a:pt x="2063876" y="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39" name="object 10"/>
            <p:cNvSpPr/>
            <p:nvPr userDrawn="1"/>
          </p:nvSpPr>
          <p:spPr>
            <a:xfrm>
              <a:off x="5312263" y="2899917"/>
              <a:ext cx="637328" cy="637328"/>
            </a:xfrm>
            <a:custGeom>
              <a:avLst/>
              <a:gdLst/>
              <a:ahLst/>
              <a:cxnLst/>
              <a:rect l="l" t="t" r="r" b="b"/>
              <a:pathLst>
                <a:path w="1390729" h="1390729">
                  <a:moveTo>
                    <a:pt x="695364" y="0"/>
                  </a:moveTo>
                  <a:lnTo>
                    <a:pt x="642019" y="2036"/>
                  </a:lnTo>
                  <a:lnTo>
                    <a:pt x="588926" y="8146"/>
                  </a:lnTo>
                  <a:lnTo>
                    <a:pt x="536340" y="18330"/>
                  </a:lnTo>
                  <a:lnTo>
                    <a:pt x="484512" y="32586"/>
                  </a:lnTo>
                  <a:lnTo>
                    <a:pt x="433697" y="50916"/>
                  </a:lnTo>
                  <a:lnTo>
                    <a:pt x="384147" y="73320"/>
                  </a:lnTo>
                  <a:lnTo>
                    <a:pt x="336116" y="99796"/>
                  </a:lnTo>
                  <a:lnTo>
                    <a:pt x="289856" y="130346"/>
                  </a:lnTo>
                  <a:lnTo>
                    <a:pt x="245621" y="164970"/>
                  </a:lnTo>
                  <a:lnTo>
                    <a:pt x="203663" y="203667"/>
                  </a:lnTo>
                  <a:lnTo>
                    <a:pt x="164967" y="245623"/>
                  </a:lnTo>
                  <a:lnTo>
                    <a:pt x="130344" y="289858"/>
                  </a:lnTo>
                  <a:lnTo>
                    <a:pt x="99795" y="336117"/>
                  </a:lnTo>
                  <a:lnTo>
                    <a:pt x="73319" y="384148"/>
                  </a:lnTo>
                  <a:lnTo>
                    <a:pt x="50915" y="433698"/>
                  </a:lnTo>
                  <a:lnTo>
                    <a:pt x="32586" y="484512"/>
                  </a:lnTo>
                  <a:lnTo>
                    <a:pt x="18329" y="536339"/>
                  </a:lnTo>
                  <a:lnTo>
                    <a:pt x="8146" y="588926"/>
                  </a:lnTo>
                  <a:lnTo>
                    <a:pt x="2036" y="642018"/>
                  </a:lnTo>
                  <a:lnTo>
                    <a:pt x="0" y="695364"/>
                  </a:lnTo>
                  <a:lnTo>
                    <a:pt x="2036" y="748710"/>
                  </a:lnTo>
                  <a:lnTo>
                    <a:pt x="8146" y="801802"/>
                  </a:lnTo>
                  <a:lnTo>
                    <a:pt x="18329" y="854389"/>
                  </a:lnTo>
                  <a:lnTo>
                    <a:pt x="32586" y="906216"/>
                  </a:lnTo>
                  <a:lnTo>
                    <a:pt x="50915" y="957030"/>
                  </a:lnTo>
                  <a:lnTo>
                    <a:pt x="73319" y="1006580"/>
                  </a:lnTo>
                  <a:lnTo>
                    <a:pt x="99795" y="1054610"/>
                  </a:lnTo>
                  <a:lnTo>
                    <a:pt x="130344" y="1100870"/>
                  </a:lnTo>
                  <a:lnTo>
                    <a:pt x="164967" y="1145104"/>
                  </a:lnTo>
                  <a:lnTo>
                    <a:pt x="203663" y="1187061"/>
                  </a:lnTo>
                  <a:lnTo>
                    <a:pt x="245621" y="1225758"/>
                  </a:lnTo>
                  <a:lnTo>
                    <a:pt x="289856" y="1260381"/>
                  </a:lnTo>
                  <a:lnTo>
                    <a:pt x="336116" y="1290931"/>
                  </a:lnTo>
                  <a:lnTo>
                    <a:pt x="384147" y="1317408"/>
                  </a:lnTo>
                  <a:lnTo>
                    <a:pt x="433697" y="1339812"/>
                  </a:lnTo>
                  <a:lnTo>
                    <a:pt x="484512" y="1358142"/>
                  </a:lnTo>
                  <a:lnTo>
                    <a:pt x="536340" y="1372399"/>
                  </a:lnTo>
                  <a:lnTo>
                    <a:pt x="588926" y="1382582"/>
                  </a:lnTo>
                  <a:lnTo>
                    <a:pt x="642019" y="1388692"/>
                  </a:lnTo>
                  <a:lnTo>
                    <a:pt x="695364" y="1390729"/>
                  </a:lnTo>
                  <a:lnTo>
                    <a:pt x="748710" y="1388692"/>
                  </a:lnTo>
                  <a:lnTo>
                    <a:pt x="801802" y="1382582"/>
                  </a:lnTo>
                  <a:lnTo>
                    <a:pt x="854389" y="1372399"/>
                  </a:lnTo>
                  <a:lnTo>
                    <a:pt x="906215" y="1358142"/>
                  </a:lnTo>
                  <a:lnTo>
                    <a:pt x="957030" y="1339812"/>
                  </a:lnTo>
                  <a:lnTo>
                    <a:pt x="1006579" y="1317408"/>
                  </a:lnTo>
                  <a:lnTo>
                    <a:pt x="1054609" y="1290931"/>
                  </a:lnTo>
                  <a:lnTo>
                    <a:pt x="1100868" y="1260381"/>
                  </a:lnTo>
                  <a:lnTo>
                    <a:pt x="1145102" y="1225758"/>
                  </a:lnTo>
                  <a:lnTo>
                    <a:pt x="1187058" y="1187061"/>
                  </a:lnTo>
                  <a:lnTo>
                    <a:pt x="1225755" y="1145104"/>
                  </a:lnTo>
                  <a:lnTo>
                    <a:pt x="1260379" y="1100870"/>
                  </a:lnTo>
                  <a:lnTo>
                    <a:pt x="1290930" y="1054610"/>
                  </a:lnTo>
                  <a:lnTo>
                    <a:pt x="1317408" y="1006580"/>
                  </a:lnTo>
                  <a:lnTo>
                    <a:pt x="1339811" y="957030"/>
                  </a:lnTo>
                  <a:lnTo>
                    <a:pt x="1358142" y="906216"/>
                  </a:lnTo>
                  <a:lnTo>
                    <a:pt x="1372399" y="854389"/>
                  </a:lnTo>
                  <a:lnTo>
                    <a:pt x="1382583" y="801802"/>
                  </a:lnTo>
                  <a:lnTo>
                    <a:pt x="1388693" y="748710"/>
                  </a:lnTo>
                  <a:lnTo>
                    <a:pt x="1390729" y="695364"/>
                  </a:lnTo>
                  <a:lnTo>
                    <a:pt x="1388693" y="642018"/>
                  </a:lnTo>
                  <a:lnTo>
                    <a:pt x="1382583" y="588926"/>
                  </a:lnTo>
                  <a:lnTo>
                    <a:pt x="1372399" y="536339"/>
                  </a:lnTo>
                  <a:lnTo>
                    <a:pt x="1358142" y="484512"/>
                  </a:lnTo>
                  <a:lnTo>
                    <a:pt x="1339811" y="433698"/>
                  </a:lnTo>
                  <a:lnTo>
                    <a:pt x="1317408" y="384148"/>
                  </a:lnTo>
                  <a:lnTo>
                    <a:pt x="1290930" y="336117"/>
                  </a:lnTo>
                  <a:lnTo>
                    <a:pt x="1260379" y="289858"/>
                  </a:lnTo>
                  <a:lnTo>
                    <a:pt x="1225755" y="245623"/>
                  </a:lnTo>
                  <a:lnTo>
                    <a:pt x="1187058" y="203667"/>
                  </a:lnTo>
                  <a:lnTo>
                    <a:pt x="1145102" y="164970"/>
                  </a:lnTo>
                  <a:lnTo>
                    <a:pt x="1100868" y="130346"/>
                  </a:lnTo>
                  <a:lnTo>
                    <a:pt x="1054609" y="99796"/>
                  </a:lnTo>
                  <a:lnTo>
                    <a:pt x="1006579" y="73320"/>
                  </a:lnTo>
                  <a:lnTo>
                    <a:pt x="957030" y="50916"/>
                  </a:lnTo>
                  <a:lnTo>
                    <a:pt x="906215" y="32586"/>
                  </a:lnTo>
                  <a:lnTo>
                    <a:pt x="854389" y="18330"/>
                  </a:lnTo>
                  <a:lnTo>
                    <a:pt x="801802" y="8146"/>
                  </a:lnTo>
                  <a:lnTo>
                    <a:pt x="748710" y="2036"/>
                  </a:lnTo>
                  <a:lnTo>
                    <a:pt x="69536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40" name="object 11"/>
            <p:cNvSpPr/>
            <p:nvPr userDrawn="1"/>
          </p:nvSpPr>
          <p:spPr>
            <a:xfrm>
              <a:off x="6136067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1263752" h="1263753">
                  <a:moveTo>
                    <a:pt x="631876" y="0"/>
                  </a:moveTo>
                  <a:lnTo>
                    <a:pt x="583400" y="1850"/>
                  </a:lnTo>
                  <a:lnTo>
                    <a:pt x="535155" y="7402"/>
                  </a:lnTo>
                  <a:lnTo>
                    <a:pt x="487369" y="16656"/>
                  </a:lnTo>
                  <a:lnTo>
                    <a:pt x="440274" y="29611"/>
                  </a:lnTo>
                  <a:lnTo>
                    <a:pt x="394098" y="46268"/>
                  </a:lnTo>
                  <a:lnTo>
                    <a:pt x="349072" y="66626"/>
                  </a:lnTo>
                  <a:lnTo>
                    <a:pt x="305426" y="90685"/>
                  </a:lnTo>
                  <a:lnTo>
                    <a:pt x="263390" y="118446"/>
                  </a:lnTo>
                  <a:lnTo>
                    <a:pt x="223194" y="149908"/>
                  </a:lnTo>
                  <a:lnTo>
                    <a:pt x="185067" y="185072"/>
                  </a:lnTo>
                  <a:lnTo>
                    <a:pt x="149904" y="223198"/>
                  </a:lnTo>
                  <a:lnTo>
                    <a:pt x="118443" y="263394"/>
                  </a:lnTo>
                  <a:lnTo>
                    <a:pt x="90683" y="305429"/>
                  </a:lnTo>
                  <a:lnTo>
                    <a:pt x="66624" y="349075"/>
                  </a:lnTo>
                  <a:lnTo>
                    <a:pt x="46266" y="394100"/>
                  </a:lnTo>
                  <a:lnTo>
                    <a:pt x="29610" y="440276"/>
                  </a:lnTo>
                  <a:lnTo>
                    <a:pt x="16656" y="487371"/>
                  </a:lnTo>
                  <a:lnTo>
                    <a:pt x="7402" y="535156"/>
                  </a:lnTo>
                  <a:lnTo>
                    <a:pt x="1850" y="583401"/>
                  </a:lnTo>
                  <a:lnTo>
                    <a:pt x="0" y="631876"/>
                  </a:lnTo>
                  <a:lnTo>
                    <a:pt x="1850" y="680351"/>
                  </a:lnTo>
                  <a:lnTo>
                    <a:pt x="7402" y="728596"/>
                  </a:lnTo>
                  <a:lnTo>
                    <a:pt x="16656" y="776381"/>
                  </a:lnTo>
                  <a:lnTo>
                    <a:pt x="29610" y="823477"/>
                  </a:lnTo>
                  <a:lnTo>
                    <a:pt x="46266" y="869652"/>
                  </a:lnTo>
                  <a:lnTo>
                    <a:pt x="66624" y="914677"/>
                  </a:lnTo>
                  <a:lnTo>
                    <a:pt x="90683" y="958323"/>
                  </a:lnTo>
                  <a:lnTo>
                    <a:pt x="118443" y="1000358"/>
                  </a:lnTo>
                  <a:lnTo>
                    <a:pt x="149904" y="1040554"/>
                  </a:lnTo>
                  <a:lnTo>
                    <a:pt x="185067" y="1078680"/>
                  </a:lnTo>
                  <a:lnTo>
                    <a:pt x="223194" y="1113844"/>
                  </a:lnTo>
                  <a:lnTo>
                    <a:pt x="263390" y="1145306"/>
                  </a:lnTo>
                  <a:lnTo>
                    <a:pt x="305426" y="1173067"/>
                  </a:lnTo>
                  <a:lnTo>
                    <a:pt x="349072" y="1197127"/>
                  </a:lnTo>
                  <a:lnTo>
                    <a:pt x="394098" y="1217485"/>
                  </a:lnTo>
                  <a:lnTo>
                    <a:pt x="440274" y="1234141"/>
                  </a:lnTo>
                  <a:lnTo>
                    <a:pt x="487369" y="1247096"/>
                  </a:lnTo>
                  <a:lnTo>
                    <a:pt x="535155" y="1256350"/>
                  </a:lnTo>
                  <a:lnTo>
                    <a:pt x="583400" y="1261902"/>
                  </a:lnTo>
                  <a:lnTo>
                    <a:pt x="631876" y="1263753"/>
                  </a:lnTo>
                  <a:lnTo>
                    <a:pt x="680351" y="1261902"/>
                  </a:lnTo>
                  <a:lnTo>
                    <a:pt x="728596" y="1256350"/>
                  </a:lnTo>
                  <a:lnTo>
                    <a:pt x="776382" y="1247096"/>
                  </a:lnTo>
                  <a:lnTo>
                    <a:pt x="823477" y="1234141"/>
                  </a:lnTo>
                  <a:lnTo>
                    <a:pt x="869653" y="1217485"/>
                  </a:lnTo>
                  <a:lnTo>
                    <a:pt x="914679" y="1197127"/>
                  </a:lnTo>
                  <a:lnTo>
                    <a:pt x="958325" y="1173067"/>
                  </a:lnTo>
                  <a:lnTo>
                    <a:pt x="1000361" y="1145306"/>
                  </a:lnTo>
                  <a:lnTo>
                    <a:pt x="1040557" y="1113844"/>
                  </a:lnTo>
                  <a:lnTo>
                    <a:pt x="1078684" y="1078680"/>
                  </a:lnTo>
                  <a:lnTo>
                    <a:pt x="1113847" y="1040554"/>
                  </a:lnTo>
                  <a:lnTo>
                    <a:pt x="1145308" y="1000358"/>
                  </a:lnTo>
                  <a:lnTo>
                    <a:pt x="1173068" y="958323"/>
                  </a:lnTo>
                  <a:lnTo>
                    <a:pt x="1197127" y="914677"/>
                  </a:lnTo>
                  <a:lnTo>
                    <a:pt x="1217485" y="869652"/>
                  </a:lnTo>
                  <a:lnTo>
                    <a:pt x="1234141" y="823477"/>
                  </a:lnTo>
                  <a:lnTo>
                    <a:pt x="1247096" y="776381"/>
                  </a:lnTo>
                  <a:lnTo>
                    <a:pt x="1256349" y="728596"/>
                  </a:lnTo>
                  <a:lnTo>
                    <a:pt x="1261901" y="680351"/>
                  </a:lnTo>
                  <a:lnTo>
                    <a:pt x="1263752" y="631876"/>
                  </a:lnTo>
                  <a:lnTo>
                    <a:pt x="1261901" y="583401"/>
                  </a:lnTo>
                  <a:lnTo>
                    <a:pt x="1256349" y="535156"/>
                  </a:lnTo>
                  <a:lnTo>
                    <a:pt x="1247096" y="487371"/>
                  </a:lnTo>
                  <a:lnTo>
                    <a:pt x="1234141" y="440276"/>
                  </a:lnTo>
                  <a:lnTo>
                    <a:pt x="1217485" y="394100"/>
                  </a:lnTo>
                  <a:lnTo>
                    <a:pt x="1197127" y="349075"/>
                  </a:lnTo>
                  <a:lnTo>
                    <a:pt x="1173068" y="305429"/>
                  </a:lnTo>
                  <a:lnTo>
                    <a:pt x="1145308" y="263394"/>
                  </a:lnTo>
                  <a:lnTo>
                    <a:pt x="1113847" y="223198"/>
                  </a:lnTo>
                  <a:lnTo>
                    <a:pt x="1078684" y="185072"/>
                  </a:lnTo>
                  <a:lnTo>
                    <a:pt x="1040557" y="149908"/>
                  </a:lnTo>
                  <a:lnTo>
                    <a:pt x="1000361" y="118446"/>
                  </a:lnTo>
                  <a:lnTo>
                    <a:pt x="958325" y="90685"/>
                  </a:lnTo>
                  <a:lnTo>
                    <a:pt x="914679" y="66626"/>
                  </a:lnTo>
                  <a:lnTo>
                    <a:pt x="869653" y="46268"/>
                  </a:lnTo>
                  <a:lnTo>
                    <a:pt x="823477" y="29611"/>
                  </a:lnTo>
                  <a:lnTo>
                    <a:pt x="776382" y="16656"/>
                  </a:lnTo>
                  <a:lnTo>
                    <a:pt x="728596" y="7402"/>
                  </a:lnTo>
                  <a:lnTo>
                    <a:pt x="680351" y="1850"/>
                  </a:lnTo>
                  <a:lnTo>
                    <a:pt x="631876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41" name="object 9"/>
            <p:cNvSpPr/>
            <p:nvPr userDrawn="1"/>
          </p:nvSpPr>
          <p:spPr>
            <a:xfrm>
              <a:off x="4484252" y="2897813"/>
              <a:ext cx="641535" cy="641536"/>
            </a:xfrm>
            <a:custGeom>
              <a:avLst/>
              <a:gdLst/>
              <a:ahLst/>
              <a:cxnLst/>
              <a:rect l="l" t="t" r="r" b="b"/>
              <a:pathLst>
                <a:path w="1880363" h="1880367">
                  <a:moveTo>
                    <a:pt x="940185" y="0"/>
                  </a:moveTo>
                  <a:lnTo>
                    <a:pt x="868058" y="2753"/>
                  </a:lnTo>
                  <a:lnTo>
                    <a:pt x="796273" y="11014"/>
                  </a:lnTo>
                  <a:lnTo>
                    <a:pt x="725172" y="24783"/>
                  </a:lnTo>
                  <a:lnTo>
                    <a:pt x="655098" y="44059"/>
                  </a:lnTo>
                  <a:lnTo>
                    <a:pt x="586392" y="68843"/>
                  </a:lnTo>
                  <a:lnTo>
                    <a:pt x="519398" y="99134"/>
                  </a:lnTo>
                  <a:lnTo>
                    <a:pt x="454457" y="134933"/>
                  </a:lnTo>
                  <a:lnTo>
                    <a:pt x="391911" y="176239"/>
                  </a:lnTo>
                  <a:lnTo>
                    <a:pt x="332102" y="223052"/>
                  </a:lnTo>
                  <a:lnTo>
                    <a:pt x="275373" y="275373"/>
                  </a:lnTo>
                  <a:lnTo>
                    <a:pt x="223052" y="332102"/>
                  </a:lnTo>
                  <a:lnTo>
                    <a:pt x="176239" y="391910"/>
                  </a:lnTo>
                  <a:lnTo>
                    <a:pt x="134933" y="454456"/>
                  </a:lnTo>
                  <a:lnTo>
                    <a:pt x="99134" y="519397"/>
                  </a:lnTo>
                  <a:lnTo>
                    <a:pt x="68843" y="586391"/>
                  </a:lnTo>
                  <a:lnTo>
                    <a:pt x="44059" y="655097"/>
                  </a:lnTo>
                  <a:lnTo>
                    <a:pt x="24783" y="725171"/>
                  </a:lnTo>
                  <a:lnTo>
                    <a:pt x="11014" y="796271"/>
                  </a:lnTo>
                  <a:lnTo>
                    <a:pt x="2753" y="868056"/>
                  </a:lnTo>
                  <a:lnTo>
                    <a:pt x="0" y="940183"/>
                  </a:lnTo>
                  <a:lnTo>
                    <a:pt x="2753" y="1012310"/>
                  </a:lnTo>
                  <a:lnTo>
                    <a:pt x="11014" y="1084095"/>
                  </a:lnTo>
                  <a:lnTo>
                    <a:pt x="24783" y="1155196"/>
                  </a:lnTo>
                  <a:lnTo>
                    <a:pt x="44059" y="1225270"/>
                  </a:lnTo>
                  <a:lnTo>
                    <a:pt x="68843" y="1293975"/>
                  </a:lnTo>
                  <a:lnTo>
                    <a:pt x="99134" y="1360969"/>
                  </a:lnTo>
                  <a:lnTo>
                    <a:pt x="134933" y="1425911"/>
                  </a:lnTo>
                  <a:lnTo>
                    <a:pt x="176239" y="1488456"/>
                  </a:lnTo>
                  <a:lnTo>
                    <a:pt x="223052" y="1548265"/>
                  </a:lnTo>
                  <a:lnTo>
                    <a:pt x="275373" y="1604993"/>
                  </a:lnTo>
                  <a:lnTo>
                    <a:pt x="332102" y="1657314"/>
                  </a:lnTo>
                  <a:lnTo>
                    <a:pt x="391911" y="1704128"/>
                  </a:lnTo>
                  <a:lnTo>
                    <a:pt x="454457" y="1745434"/>
                  </a:lnTo>
                  <a:lnTo>
                    <a:pt x="519398" y="1781232"/>
                  </a:lnTo>
                  <a:lnTo>
                    <a:pt x="586392" y="1811523"/>
                  </a:lnTo>
                  <a:lnTo>
                    <a:pt x="655098" y="1836307"/>
                  </a:lnTo>
                  <a:lnTo>
                    <a:pt x="725172" y="1855583"/>
                  </a:lnTo>
                  <a:lnTo>
                    <a:pt x="796273" y="1869352"/>
                  </a:lnTo>
                  <a:lnTo>
                    <a:pt x="868058" y="1877613"/>
                  </a:lnTo>
                  <a:lnTo>
                    <a:pt x="940185" y="1880367"/>
                  </a:lnTo>
                  <a:lnTo>
                    <a:pt x="1012312" y="1877613"/>
                  </a:lnTo>
                  <a:lnTo>
                    <a:pt x="1084097" y="1869352"/>
                  </a:lnTo>
                  <a:lnTo>
                    <a:pt x="1155197" y="1855583"/>
                  </a:lnTo>
                  <a:lnTo>
                    <a:pt x="1225271" y="1836307"/>
                  </a:lnTo>
                  <a:lnTo>
                    <a:pt x="1293976" y="1811523"/>
                  </a:lnTo>
                  <a:lnTo>
                    <a:pt x="1360970" y="1781232"/>
                  </a:lnTo>
                  <a:lnTo>
                    <a:pt x="1425911" y="1745434"/>
                  </a:lnTo>
                  <a:lnTo>
                    <a:pt x="1488456" y="1704128"/>
                  </a:lnTo>
                  <a:lnTo>
                    <a:pt x="1548264" y="1657314"/>
                  </a:lnTo>
                  <a:lnTo>
                    <a:pt x="1604992" y="1604993"/>
                  </a:lnTo>
                  <a:lnTo>
                    <a:pt x="1657313" y="1548265"/>
                  </a:lnTo>
                  <a:lnTo>
                    <a:pt x="1704126" y="1488456"/>
                  </a:lnTo>
                  <a:lnTo>
                    <a:pt x="1745432" y="1425911"/>
                  </a:lnTo>
                  <a:lnTo>
                    <a:pt x="1781230" y="1360969"/>
                  </a:lnTo>
                  <a:lnTo>
                    <a:pt x="1811521" y="1293975"/>
                  </a:lnTo>
                  <a:lnTo>
                    <a:pt x="1836304" y="1225270"/>
                  </a:lnTo>
                  <a:lnTo>
                    <a:pt x="1855580" y="1155196"/>
                  </a:lnTo>
                  <a:lnTo>
                    <a:pt x="1869349" y="1084095"/>
                  </a:lnTo>
                  <a:lnTo>
                    <a:pt x="1877610" y="1012310"/>
                  </a:lnTo>
                  <a:lnTo>
                    <a:pt x="1880363" y="940183"/>
                  </a:lnTo>
                  <a:lnTo>
                    <a:pt x="1877610" y="868056"/>
                  </a:lnTo>
                  <a:lnTo>
                    <a:pt x="1869349" y="796271"/>
                  </a:lnTo>
                  <a:lnTo>
                    <a:pt x="1855580" y="725171"/>
                  </a:lnTo>
                  <a:lnTo>
                    <a:pt x="1836304" y="655097"/>
                  </a:lnTo>
                  <a:lnTo>
                    <a:pt x="1811521" y="586391"/>
                  </a:lnTo>
                  <a:lnTo>
                    <a:pt x="1781230" y="519397"/>
                  </a:lnTo>
                  <a:lnTo>
                    <a:pt x="1745432" y="454456"/>
                  </a:lnTo>
                  <a:lnTo>
                    <a:pt x="1704126" y="391910"/>
                  </a:lnTo>
                  <a:lnTo>
                    <a:pt x="1657313" y="332102"/>
                  </a:lnTo>
                  <a:lnTo>
                    <a:pt x="1604992" y="275373"/>
                  </a:lnTo>
                  <a:lnTo>
                    <a:pt x="1548264" y="223052"/>
                  </a:lnTo>
                  <a:lnTo>
                    <a:pt x="1488456" y="176239"/>
                  </a:lnTo>
                  <a:lnTo>
                    <a:pt x="1425911" y="134933"/>
                  </a:lnTo>
                  <a:lnTo>
                    <a:pt x="1360970" y="99134"/>
                  </a:lnTo>
                  <a:lnTo>
                    <a:pt x="1293976" y="68843"/>
                  </a:lnTo>
                  <a:lnTo>
                    <a:pt x="1225271" y="44059"/>
                  </a:lnTo>
                  <a:lnTo>
                    <a:pt x="1155197" y="24783"/>
                  </a:lnTo>
                  <a:lnTo>
                    <a:pt x="1084097" y="11014"/>
                  </a:lnTo>
                  <a:lnTo>
                    <a:pt x="1012312" y="2753"/>
                  </a:lnTo>
                  <a:lnTo>
                    <a:pt x="940185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</p:grp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2316262"/>
            <a:ext cx="4314029" cy="381217"/>
          </a:xfrm>
        </p:spPr>
        <p:txBody>
          <a:bodyPr/>
          <a:lstStyle>
            <a:lvl1pPr marL="15394" indent="0" algn="ctr" defTabSz="4572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50" b="1" kern="1200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b="1" dirty="0" err="1">
                <a:solidFill>
                  <a:srgbClr val="0D356E"/>
                </a:solidFill>
                <a:latin typeface="+mn-lt"/>
                <a:cs typeface="Arial"/>
              </a:rPr>
              <a:t>Subheadlin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or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supportiv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tex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6" y="2774490"/>
            <a:ext cx="4051300" cy="508000"/>
          </a:xfrm>
        </p:spPr>
        <p:txBody>
          <a:bodyPr/>
          <a:lstStyle>
            <a:lvl1pPr marL="15394" indent="0" algn="ctr" defTabSz="1828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050" kern="1200" spc="6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Lorem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ipsum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do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lor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s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met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consectetur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d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piscing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. </a:t>
            </a:r>
            <a:b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Morb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a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m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susci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,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da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bus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nu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la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u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mo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estie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quam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.</a:t>
            </a:r>
            <a:endParaRPr lang="en-US" sz="1050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7309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6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0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56406"/>
            <a:ext cx="211455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0E3570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0061"/>
            <a:ext cx="1023938" cy="253722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0" name="Straight Connector 17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2666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3785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836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132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/>
          <a:lstStyle>
            <a:lvl1pPr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Thank You</a:t>
            </a:r>
            <a:br>
              <a:rPr lang="en-US" dirty="0"/>
            </a:br>
            <a:r>
              <a:rPr lang="en-US" dirty="0"/>
              <a:t>for Your tim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14875" y="3348038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LinkedIn ID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14875" y="3594224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Twitter ID</a:t>
            </a:r>
          </a:p>
        </p:txBody>
      </p:sp>
      <p:pic>
        <p:nvPicPr>
          <p:cNvPr id="21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365" y="3318988"/>
            <a:ext cx="210500" cy="21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028" y="3536974"/>
            <a:ext cx="266900" cy="2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69" y="1709011"/>
            <a:ext cx="2193893" cy="1752170"/>
          </a:xfrm>
          <a:prstGeom prst="rect">
            <a:avLst/>
          </a:prstGeom>
        </p:spPr>
      </p:pic>
      <p:grpSp>
        <p:nvGrpSpPr>
          <p:cNvPr id="24" name="Group 2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88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25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rgbClr val="FFFFFF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720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4050" dirty="0">
                <a:solidFill>
                  <a:srgbClr val="FFFFFF"/>
                </a:solidFill>
                <a:sym typeface="+mn-lt"/>
              </a:rPr>
              <a:t>Agenda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2211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0785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FFFFFF"/>
                </a:solidFill>
                <a:latin typeface="Trebuchet M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5790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without image and with Client/Partner log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4"/>
          <p:cNvSpPr/>
          <p:nvPr/>
        </p:nvSpPr>
        <p:spPr>
          <a:xfrm>
            <a:off x="-114300" y="-25400"/>
            <a:ext cx="4671298" cy="4076763"/>
          </a:xfrm>
          <a:custGeom>
            <a:avLst/>
            <a:gdLst/>
            <a:ahLst/>
            <a:cxnLst/>
            <a:rect l="l" t="t" r="r" b="b"/>
            <a:pathLst>
              <a:path w="10193348" h="8895999">
                <a:moveTo>
                  <a:pt x="8488661" y="0"/>
                </a:moveTo>
                <a:lnTo>
                  <a:pt x="1704683" y="0"/>
                </a:lnTo>
                <a:lnTo>
                  <a:pt x="1492780" y="195439"/>
                </a:lnTo>
                <a:lnTo>
                  <a:pt x="1209152" y="502960"/>
                </a:lnTo>
                <a:lnTo>
                  <a:pt x="955379" y="827176"/>
                </a:lnTo>
                <a:lnTo>
                  <a:pt x="731462" y="1166233"/>
                </a:lnTo>
                <a:lnTo>
                  <a:pt x="537401" y="1518274"/>
                </a:lnTo>
                <a:lnTo>
                  <a:pt x="373195" y="1881445"/>
                </a:lnTo>
                <a:lnTo>
                  <a:pt x="238844" y="2253892"/>
                </a:lnTo>
                <a:lnTo>
                  <a:pt x="134350" y="2633758"/>
                </a:lnTo>
                <a:lnTo>
                  <a:pt x="59711" y="3019189"/>
                </a:lnTo>
                <a:lnTo>
                  <a:pt x="14927" y="3408331"/>
                </a:lnTo>
                <a:lnTo>
                  <a:pt x="0" y="3799327"/>
                </a:lnTo>
                <a:lnTo>
                  <a:pt x="14927" y="4190324"/>
                </a:lnTo>
                <a:lnTo>
                  <a:pt x="59711" y="4579465"/>
                </a:lnTo>
                <a:lnTo>
                  <a:pt x="134350" y="4964896"/>
                </a:lnTo>
                <a:lnTo>
                  <a:pt x="238844" y="5344763"/>
                </a:lnTo>
                <a:lnTo>
                  <a:pt x="373195" y="5717209"/>
                </a:lnTo>
                <a:lnTo>
                  <a:pt x="537401" y="6080381"/>
                </a:lnTo>
                <a:lnTo>
                  <a:pt x="731462" y="6432423"/>
                </a:lnTo>
                <a:lnTo>
                  <a:pt x="955379" y="6771479"/>
                </a:lnTo>
                <a:lnTo>
                  <a:pt x="1209152" y="7095696"/>
                </a:lnTo>
                <a:lnTo>
                  <a:pt x="1492780" y="7403218"/>
                </a:lnTo>
                <a:lnTo>
                  <a:pt x="1800302" y="7686847"/>
                </a:lnTo>
                <a:lnTo>
                  <a:pt x="2124519" y="7940619"/>
                </a:lnTo>
                <a:lnTo>
                  <a:pt x="2463576" y="8164537"/>
                </a:lnTo>
                <a:lnTo>
                  <a:pt x="2815618" y="8358598"/>
                </a:lnTo>
                <a:lnTo>
                  <a:pt x="3178790" y="8522804"/>
                </a:lnTo>
                <a:lnTo>
                  <a:pt x="3551236" y="8657154"/>
                </a:lnTo>
                <a:lnTo>
                  <a:pt x="3931103" y="8761649"/>
                </a:lnTo>
                <a:lnTo>
                  <a:pt x="4316535" y="8836288"/>
                </a:lnTo>
                <a:lnTo>
                  <a:pt x="4705676" y="8881071"/>
                </a:lnTo>
                <a:lnTo>
                  <a:pt x="5096673" y="8895999"/>
                </a:lnTo>
                <a:lnTo>
                  <a:pt x="5487669" y="8881071"/>
                </a:lnTo>
                <a:lnTo>
                  <a:pt x="5876811" y="8836288"/>
                </a:lnTo>
                <a:lnTo>
                  <a:pt x="6262242" y="8761649"/>
                </a:lnTo>
                <a:lnTo>
                  <a:pt x="6642109" y="8657154"/>
                </a:lnTo>
                <a:lnTo>
                  <a:pt x="7014555" y="8522804"/>
                </a:lnTo>
                <a:lnTo>
                  <a:pt x="7377727" y="8358598"/>
                </a:lnTo>
                <a:lnTo>
                  <a:pt x="7729769" y="8164537"/>
                </a:lnTo>
                <a:lnTo>
                  <a:pt x="8068825" y="7940619"/>
                </a:lnTo>
                <a:lnTo>
                  <a:pt x="8393042" y="7686847"/>
                </a:lnTo>
                <a:lnTo>
                  <a:pt x="8700564" y="7403218"/>
                </a:lnTo>
                <a:lnTo>
                  <a:pt x="8984193" y="7095696"/>
                </a:lnTo>
                <a:lnTo>
                  <a:pt x="9237966" y="6771479"/>
                </a:lnTo>
                <a:lnTo>
                  <a:pt x="9461884" y="6432423"/>
                </a:lnTo>
                <a:lnTo>
                  <a:pt x="9655946" y="6080381"/>
                </a:lnTo>
                <a:lnTo>
                  <a:pt x="9820152" y="5717209"/>
                </a:lnTo>
                <a:lnTo>
                  <a:pt x="9954502" y="5344763"/>
                </a:lnTo>
                <a:lnTo>
                  <a:pt x="10058997" y="4964896"/>
                </a:lnTo>
                <a:lnTo>
                  <a:pt x="10133636" y="4579465"/>
                </a:lnTo>
                <a:lnTo>
                  <a:pt x="10178420" y="4190324"/>
                </a:lnTo>
                <a:lnTo>
                  <a:pt x="10193348" y="3799327"/>
                </a:lnTo>
                <a:lnTo>
                  <a:pt x="10178420" y="3408331"/>
                </a:lnTo>
                <a:lnTo>
                  <a:pt x="10133636" y="3019189"/>
                </a:lnTo>
                <a:lnTo>
                  <a:pt x="10058997" y="2633758"/>
                </a:lnTo>
                <a:lnTo>
                  <a:pt x="9954502" y="2253892"/>
                </a:lnTo>
                <a:lnTo>
                  <a:pt x="9820152" y="1881445"/>
                </a:lnTo>
                <a:lnTo>
                  <a:pt x="9655946" y="1518274"/>
                </a:lnTo>
                <a:lnTo>
                  <a:pt x="9461884" y="1166233"/>
                </a:lnTo>
                <a:lnTo>
                  <a:pt x="9237966" y="827176"/>
                </a:lnTo>
                <a:lnTo>
                  <a:pt x="8984193" y="502960"/>
                </a:lnTo>
                <a:lnTo>
                  <a:pt x="8700564" y="195439"/>
                </a:lnTo>
                <a:lnTo>
                  <a:pt x="8488661" y="0"/>
                </a:lnTo>
                <a:close/>
              </a:path>
            </a:pathLst>
          </a:custGeom>
          <a:solidFill>
            <a:srgbClr val="FFDB2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13836" y="914400"/>
            <a:ext cx="6946900" cy="1219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3600" spc="-55" dirty="0">
                <a:solidFill>
                  <a:srgbClr val="0D35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5394"/>
            <a: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  <a:t>Headline placeholder</a:t>
            </a:r>
            <a:b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i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t</a:t>
            </a:r>
            <a:r>
              <a:rPr lang="en-US" sz="3600" b="1" u="sng" spc="-85" dirty="0">
                <a:solidFill>
                  <a:srgbClr val="0D356E"/>
                </a:solidFill>
                <a:latin typeface="+mn-lt"/>
                <a:cs typeface="Arial"/>
              </a:rPr>
              <a:t>w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o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li</a:t>
            </a:r>
            <a:r>
              <a:rPr lang="en-US" sz="3600" b="1" u="sng" spc="-73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1" dirty="0">
                <a:solidFill>
                  <a:srgbClr val="0D356E"/>
                </a:solidFill>
                <a:latin typeface="+mn-lt"/>
                <a:cs typeface="Arial"/>
              </a:rPr>
              <a:t>es</a:t>
            </a:r>
            <a:endParaRPr lang="en-US" sz="3600" u="sng" dirty="0">
              <a:latin typeface="+mn-lt"/>
              <a:cs typeface="Arial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2316262"/>
            <a:ext cx="4314029" cy="381217"/>
          </a:xfrm>
        </p:spPr>
        <p:txBody>
          <a:bodyPr/>
          <a:lstStyle>
            <a:lvl1pPr marL="15394" indent="0" algn="ctr" defTabSz="4572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50" b="1" kern="1200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b="1" dirty="0" err="1">
                <a:solidFill>
                  <a:srgbClr val="0D356E"/>
                </a:solidFill>
                <a:latin typeface="+mn-lt"/>
                <a:cs typeface="Arial"/>
              </a:rPr>
              <a:t>Subheadlin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or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supportiv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text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6" y="2774490"/>
            <a:ext cx="4051300" cy="508000"/>
          </a:xfrm>
        </p:spPr>
        <p:txBody>
          <a:bodyPr/>
          <a:lstStyle>
            <a:lvl1pPr marL="15394" indent="0" algn="ctr" defTabSz="1828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050" kern="1200" spc="6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Lorem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ipsum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do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lor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s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met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consectetur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d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piscing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. </a:t>
            </a:r>
            <a:b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Morb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a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m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susci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,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da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bus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nu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la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u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mo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estie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quam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.</a:t>
            </a:r>
            <a:endParaRPr lang="en-US" sz="1050" dirty="0">
              <a:latin typeface="+mn-lt"/>
              <a:cs typeface="Arial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484252" y="2897813"/>
            <a:ext cx="3118452" cy="641536"/>
            <a:chOff x="4484252" y="2897813"/>
            <a:chExt cx="3118452" cy="641536"/>
          </a:xfrm>
        </p:grpSpPr>
        <p:sp>
          <p:nvSpPr>
            <p:cNvPr id="23" name="object 8"/>
            <p:cNvSpPr/>
            <p:nvPr userDrawn="1"/>
          </p:nvSpPr>
          <p:spPr>
            <a:xfrm>
              <a:off x="6962624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4127753" h="4127749">
                  <a:moveTo>
                    <a:pt x="2063876" y="0"/>
                  </a:moveTo>
                  <a:lnTo>
                    <a:pt x="1905544" y="6044"/>
                  </a:lnTo>
                  <a:lnTo>
                    <a:pt x="1747964" y="24179"/>
                  </a:lnTo>
                  <a:lnTo>
                    <a:pt x="1591885" y="54404"/>
                  </a:lnTo>
                  <a:lnTo>
                    <a:pt x="1438060" y="96719"/>
                  </a:lnTo>
                  <a:lnTo>
                    <a:pt x="1287239" y="151123"/>
                  </a:lnTo>
                  <a:lnTo>
                    <a:pt x="1140175" y="217618"/>
                  </a:lnTo>
                  <a:lnTo>
                    <a:pt x="997617" y="296202"/>
                  </a:lnTo>
                  <a:lnTo>
                    <a:pt x="860317" y="386876"/>
                  </a:lnTo>
                  <a:lnTo>
                    <a:pt x="729027" y="489640"/>
                  </a:lnTo>
                  <a:lnTo>
                    <a:pt x="604497" y="604494"/>
                  </a:lnTo>
                  <a:lnTo>
                    <a:pt x="489642" y="729024"/>
                  </a:lnTo>
                  <a:lnTo>
                    <a:pt x="386878" y="860314"/>
                  </a:lnTo>
                  <a:lnTo>
                    <a:pt x="296203" y="997614"/>
                  </a:lnTo>
                  <a:lnTo>
                    <a:pt x="217619" y="1140171"/>
                  </a:lnTo>
                  <a:lnTo>
                    <a:pt x="151124" y="1287236"/>
                  </a:lnTo>
                  <a:lnTo>
                    <a:pt x="96719" y="1438057"/>
                  </a:lnTo>
                  <a:lnTo>
                    <a:pt x="54404" y="1591882"/>
                  </a:lnTo>
                  <a:lnTo>
                    <a:pt x="24179" y="1747961"/>
                  </a:lnTo>
                  <a:lnTo>
                    <a:pt x="6044" y="1905542"/>
                  </a:lnTo>
                  <a:lnTo>
                    <a:pt x="0" y="2063874"/>
                  </a:lnTo>
                  <a:lnTo>
                    <a:pt x="6044" y="2222206"/>
                  </a:lnTo>
                  <a:lnTo>
                    <a:pt x="24179" y="2379787"/>
                  </a:lnTo>
                  <a:lnTo>
                    <a:pt x="54404" y="2535866"/>
                  </a:lnTo>
                  <a:lnTo>
                    <a:pt x="96719" y="2689691"/>
                  </a:lnTo>
                  <a:lnTo>
                    <a:pt x="151124" y="2840512"/>
                  </a:lnTo>
                  <a:lnTo>
                    <a:pt x="217619" y="2987577"/>
                  </a:lnTo>
                  <a:lnTo>
                    <a:pt x="296203" y="3130134"/>
                  </a:lnTo>
                  <a:lnTo>
                    <a:pt x="386878" y="3267434"/>
                  </a:lnTo>
                  <a:lnTo>
                    <a:pt x="489642" y="3398724"/>
                  </a:lnTo>
                  <a:lnTo>
                    <a:pt x="604497" y="3523254"/>
                  </a:lnTo>
                  <a:lnTo>
                    <a:pt x="729027" y="3638108"/>
                  </a:lnTo>
                  <a:lnTo>
                    <a:pt x="860317" y="3740872"/>
                  </a:lnTo>
                  <a:lnTo>
                    <a:pt x="997617" y="3831546"/>
                  </a:lnTo>
                  <a:lnTo>
                    <a:pt x="1140175" y="3910131"/>
                  </a:lnTo>
                  <a:lnTo>
                    <a:pt x="1287239" y="3976625"/>
                  </a:lnTo>
                  <a:lnTo>
                    <a:pt x="1438060" y="4031029"/>
                  </a:lnTo>
                  <a:lnTo>
                    <a:pt x="1591885" y="4073344"/>
                  </a:lnTo>
                  <a:lnTo>
                    <a:pt x="1747964" y="4103569"/>
                  </a:lnTo>
                  <a:lnTo>
                    <a:pt x="1905544" y="4121704"/>
                  </a:lnTo>
                  <a:lnTo>
                    <a:pt x="2063876" y="4127749"/>
                  </a:lnTo>
                  <a:lnTo>
                    <a:pt x="2222208" y="4121704"/>
                  </a:lnTo>
                  <a:lnTo>
                    <a:pt x="2379789" y="4103569"/>
                  </a:lnTo>
                  <a:lnTo>
                    <a:pt x="2535868" y="4073344"/>
                  </a:lnTo>
                  <a:lnTo>
                    <a:pt x="2689693" y="4031029"/>
                  </a:lnTo>
                  <a:lnTo>
                    <a:pt x="2840513" y="3976625"/>
                  </a:lnTo>
                  <a:lnTo>
                    <a:pt x="2987578" y="3910131"/>
                  </a:lnTo>
                  <a:lnTo>
                    <a:pt x="3130136" y="3831546"/>
                  </a:lnTo>
                  <a:lnTo>
                    <a:pt x="3267436" y="3740872"/>
                  </a:lnTo>
                  <a:lnTo>
                    <a:pt x="3398726" y="3638108"/>
                  </a:lnTo>
                  <a:lnTo>
                    <a:pt x="3523256" y="3523254"/>
                  </a:lnTo>
                  <a:lnTo>
                    <a:pt x="3638111" y="3398724"/>
                  </a:lnTo>
                  <a:lnTo>
                    <a:pt x="3740875" y="3267434"/>
                  </a:lnTo>
                  <a:lnTo>
                    <a:pt x="3831550" y="3130134"/>
                  </a:lnTo>
                  <a:lnTo>
                    <a:pt x="3910134" y="2987577"/>
                  </a:lnTo>
                  <a:lnTo>
                    <a:pt x="3976629" y="2840512"/>
                  </a:lnTo>
                  <a:lnTo>
                    <a:pt x="4031034" y="2689691"/>
                  </a:lnTo>
                  <a:lnTo>
                    <a:pt x="4073349" y="2535866"/>
                  </a:lnTo>
                  <a:lnTo>
                    <a:pt x="4103574" y="2379787"/>
                  </a:lnTo>
                  <a:lnTo>
                    <a:pt x="4121708" y="2222206"/>
                  </a:lnTo>
                  <a:lnTo>
                    <a:pt x="4127753" y="2063874"/>
                  </a:lnTo>
                  <a:lnTo>
                    <a:pt x="4121708" y="1905542"/>
                  </a:lnTo>
                  <a:lnTo>
                    <a:pt x="4103574" y="1747961"/>
                  </a:lnTo>
                  <a:lnTo>
                    <a:pt x="4073349" y="1591882"/>
                  </a:lnTo>
                  <a:lnTo>
                    <a:pt x="4031034" y="1438057"/>
                  </a:lnTo>
                  <a:lnTo>
                    <a:pt x="3976629" y="1287236"/>
                  </a:lnTo>
                  <a:lnTo>
                    <a:pt x="3910134" y="1140171"/>
                  </a:lnTo>
                  <a:lnTo>
                    <a:pt x="3831550" y="997614"/>
                  </a:lnTo>
                  <a:lnTo>
                    <a:pt x="3740875" y="860314"/>
                  </a:lnTo>
                  <a:lnTo>
                    <a:pt x="3638111" y="729024"/>
                  </a:lnTo>
                  <a:lnTo>
                    <a:pt x="3523256" y="604494"/>
                  </a:lnTo>
                  <a:lnTo>
                    <a:pt x="3398726" y="489640"/>
                  </a:lnTo>
                  <a:lnTo>
                    <a:pt x="3267436" y="386876"/>
                  </a:lnTo>
                  <a:lnTo>
                    <a:pt x="3130136" y="296202"/>
                  </a:lnTo>
                  <a:lnTo>
                    <a:pt x="2987578" y="217618"/>
                  </a:lnTo>
                  <a:lnTo>
                    <a:pt x="2840513" y="151123"/>
                  </a:lnTo>
                  <a:lnTo>
                    <a:pt x="2689693" y="96719"/>
                  </a:lnTo>
                  <a:lnTo>
                    <a:pt x="2535868" y="54404"/>
                  </a:lnTo>
                  <a:lnTo>
                    <a:pt x="2379789" y="24179"/>
                  </a:lnTo>
                  <a:lnTo>
                    <a:pt x="2222208" y="6044"/>
                  </a:lnTo>
                  <a:lnTo>
                    <a:pt x="2063876" y="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24" name="object 10"/>
            <p:cNvSpPr/>
            <p:nvPr userDrawn="1"/>
          </p:nvSpPr>
          <p:spPr>
            <a:xfrm>
              <a:off x="5312263" y="2899917"/>
              <a:ext cx="637328" cy="637328"/>
            </a:xfrm>
            <a:custGeom>
              <a:avLst/>
              <a:gdLst/>
              <a:ahLst/>
              <a:cxnLst/>
              <a:rect l="l" t="t" r="r" b="b"/>
              <a:pathLst>
                <a:path w="1390729" h="1390729">
                  <a:moveTo>
                    <a:pt x="695364" y="0"/>
                  </a:moveTo>
                  <a:lnTo>
                    <a:pt x="642019" y="2036"/>
                  </a:lnTo>
                  <a:lnTo>
                    <a:pt x="588926" y="8146"/>
                  </a:lnTo>
                  <a:lnTo>
                    <a:pt x="536340" y="18330"/>
                  </a:lnTo>
                  <a:lnTo>
                    <a:pt x="484512" y="32586"/>
                  </a:lnTo>
                  <a:lnTo>
                    <a:pt x="433697" y="50916"/>
                  </a:lnTo>
                  <a:lnTo>
                    <a:pt x="384147" y="73320"/>
                  </a:lnTo>
                  <a:lnTo>
                    <a:pt x="336116" y="99796"/>
                  </a:lnTo>
                  <a:lnTo>
                    <a:pt x="289856" y="130346"/>
                  </a:lnTo>
                  <a:lnTo>
                    <a:pt x="245621" y="164970"/>
                  </a:lnTo>
                  <a:lnTo>
                    <a:pt x="203663" y="203667"/>
                  </a:lnTo>
                  <a:lnTo>
                    <a:pt x="164967" y="245623"/>
                  </a:lnTo>
                  <a:lnTo>
                    <a:pt x="130344" y="289858"/>
                  </a:lnTo>
                  <a:lnTo>
                    <a:pt x="99795" y="336117"/>
                  </a:lnTo>
                  <a:lnTo>
                    <a:pt x="73319" y="384148"/>
                  </a:lnTo>
                  <a:lnTo>
                    <a:pt x="50915" y="433698"/>
                  </a:lnTo>
                  <a:lnTo>
                    <a:pt x="32586" y="484512"/>
                  </a:lnTo>
                  <a:lnTo>
                    <a:pt x="18329" y="536339"/>
                  </a:lnTo>
                  <a:lnTo>
                    <a:pt x="8146" y="588926"/>
                  </a:lnTo>
                  <a:lnTo>
                    <a:pt x="2036" y="642018"/>
                  </a:lnTo>
                  <a:lnTo>
                    <a:pt x="0" y="695364"/>
                  </a:lnTo>
                  <a:lnTo>
                    <a:pt x="2036" y="748710"/>
                  </a:lnTo>
                  <a:lnTo>
                    <a:pt x="8146" y="801802"/>
                  </a:lnTo>
                  <a:lnTo>
                    <a:pt x="18329" y="854389"/>
                  </a:lnTo>
                  <a:lnTo>
                    <a:pt x="32586" y="906216"/>
                  </a:lnTo>
                  <a:lnTo>
                    <a:pt x="50915" y="957030"/>
                  </a:lnTo>
                  <a:lnTo>
                    <a:pt x="73319" y="1006580"/>
                  </a:lnTo>
                  <a:lnTo>
                    <a:pt x="99795" y="1054610"/>
                  </a:lnTo>
                  <a:lnTo>
                    <a:pt x="130344" y="1100870"/>
                  </a:lnTo>
                  <a:lnTo>
                    <a:pt x="164967" y="1145104"/>
                  </a:lnTo>
                  <a:lnTo>
                    <a:pt x="203663" y="1187061"/>
                  </a:lnTo>
                  <a:lnTo>
                    <a:pt x="245621" y="1225758"/>
                  </a:lnTo>
                  <a:lnTo>
                    <a:pt x="289856" y="1260381"/>
                  </a:lnTo>
                  <a:lnTo>
                    <a:pt x="336116" y="1290931"/>
                  </a:lnTo>
                  <a:lnTo>
                    <a:pt x="384147" y="1317408"/>
                  </a:lnTo>
                  <a:lnTo>
                    <a:pt x="433697" y="1339812"/>
                  </a:lnTo>
                  <a:lnTo>
                    <a:pt x="484512" y="1358142"/>
                  </a:lnTo>
                  <a:lnTo>
                    <a:pt x="536340" y="1372399"/>
                  </a:lnTo>
                  <a:lnTo>
                    <a:pt x="588926" y="1382582"/>
                  </a:lnTo>
                  <a:lnTo>
                    <a:pt x="642019" y="1388692"/>
                  </a:lnTo>
                  <a:lnTo>
                    <a:pt x="695364" y="1390729"/>
                  </a:lnTo>
                  <a:lnTo>
                    <a:pt x="748710" y="1388692"/>
                  </a:lnTo>
                  <a:lnTo>
                    <a:pt x="801802" y="1382582"/>
                  </a:lnTo>
                  <a:lnTo>
                    <a:pt x="854389" y="1372399"/>
                  </a:lnTo>
                  <a:lnTo>
                    <a:pt x="906215" y="1358142"/>
                  </a:lnTo>
                  <a:lnTo>
                    <a:pt x="957030" y="1339812"/>
                  </a:lnTo>
                  <a:lnTo>
                    <a:pt x="1006579" y="1317408"/>
                  </a:lnTo>
                  <a:lnTo>
                    <a:pt x="1054609" y="1290931"/>
                  </a:lnTo>
                  <a:lnTo>
                    <a:pt x="1100868" y="1260381"/>
                  </a:lnTo>
                  <a:lnTo>
                    <a:pt x="1145102" y="1225758"/>
                  </a:lnTo>
                  <a:lnTo>
                    <a:pt x="1187058" y="1187061"/>
                  </a:lnTo>
                  <a:lnTo>
                    <a:pt x="1225755" y="1145104"/>
                  </a:lnTo>
                  <a:lnTo>
                    <a:pt x="1260379" y="1100870"/>
                  </a:lnTo>
                  <a:lnTo>
                    <a:pt x="1290930" y="1054610"/>
                  </a:lnTo>
                  <a:lnTo>
                    <a:pt x="1317408" y="1006580"/>
                  </a:lnTo>
                  <a:lnTo>
                    <a:pt x="1339811" y="957030"/>
                  </a:lnTo>
                  <a:lnTo>
                    <a:pt x="1358142" y="906216"/>
                  </a:lnTo>
                  <a:lnTo>
                    <a:pt x="1372399" y="854389"/>
                  </a:lnTo>
                  <a:lnTo>
                    <a:pt x="1382583" y="801802"/>
                  </a:lnTo>
                  <a:lnTo>
                    <a:pt x="1388693" y="748710"/>
                  </a:lnTo>
                  <a:lnTo>
                    <a:pt x="1390729" y="695364"/>
                  </a:lnTo>
                  <a:lnTo>
                    <a:pt x="1388693" y="642018"/>
                  </a:lnTo>
                  <a:lnTo>
                    <a:pt x="1382583" y="588926"/>
                  </a:lnTo>
                  <a:lnTo>
                    <a:pt x="1372399" y="536339"/>
                  </a:lnTo>
                  <a:lnTo>
                    <a:pt x="1358142" y="484512"/>
                  </a:lnTo>
                  <a:lnTo>
                    <a:pt x="1339811" y="433698"/>
                  </a:lnTo>
                  <a:lnTo>
                    <a:pt x="1317408" y="384148"/>
                  </a:lnTo>
                  <a:lnTo>
                    <a:pt x="1290930" y="336117"/>
                  </a:lnTo>
                  <a:lnTo>
                    <a:pt x="1260379" y="289858"/>
                  </a:lnTo>
                  <a:lnTo>
                    <a:pt x="1225755" y="245623"/>
                  </a:lnTo>
                  <a:lnTo>
                    <a:pt x="1187058" y="203667"/>
                  </a:lnTo>
                  <a:lnTo>
                    <a:pt x="1145102" y="164970"/>
                  </a:lnTo>
                  <a:lnTo>
                    <a:pt x="1100868" y="130346"/>
                  </a:lnTo>
                  <a:lnTo>
                    <a:pt x="1054609" y="99796"/>
                  </a:lnTo>
                  <a:lnTo>
                    <a:pt x="1006579" y="73320"/>
                  </a:lnTo>
                  <a:lnTo>
                    <a:pt x="957030" y="50916"/>
                  </a:lnTo>
                  <a:lnTo>
                    <a:pt x="906215" y="32586"/>
                  </a:lnTo>
                  <a:lnTo>
                    <a:pt x="854389" y="18330"/>
                  </a:lnTo>
                  <a:lnTo>
                    <a:pt x="801802" y="8146"/>
                  </a:lnTo>
                  <a:lnTo>
                    <a:pt x="748710" y="2036"/>
                  </a:lnTo>
                  <a:lnTo>
                    <a:pt x="69536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30" name="object 11"/>
            <p:cNvSpPr/>
            <p:nvPr userDrawn="1"/>
          </p:nvSpPr>
          <p:spPr>
            <a:xfrm>
              <a:off x="6136067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1263752" h="1263753">
                  <a:moveTo>
                    <a:pt x="631876" y="0"/>
                  </a:moveTo>
                  <a:lnTo>
                    <a:pt x="583400" y="1850"/>
                  </a:lnTo>
                  <a:lnTo>
                    <a:pt x="535155" y="7402"/>
                  </a:lnTo>
                  <a:lnTo>
                    <a:pt x="487369" y="16656"/>
                  </a:lnTo>
                  <a:lnTo>
                    <a:pt x="440274" y="29611"/>
                  </a:lnTo>
                  <a:lnTo>
                    <a:pt x="394098" y="46268"/>
                  </a:lnTo>
                  <a:lnTo>
                    <a:pt x="349072" y="66626"/>
                  </a:lnTo>
                  <a:lnTo>
                    <a:pt x="305426" y="90685"/>
                  </a:lnTo>
                  <a:lnTo>
                    <a:pt x="263390" y="118446"/>
                  </a:lnTo>
                  <a:lnTo>
                    <a:pt x="223194" y="149908"/>
                  </a:lnTo>
                  <a:lnTo>
                    <a:pt x="185067" y="185072"/>
                  </a:lnTo>
                  <a:lnTo>
                    <a:pt x="149904" y="223198"/>
                  </a:lnTo>
                  <a:lnTo>
                    <a:pt x="118443" y="263394"/>
                  </a:lnTo>
                  <a:lnTo>
                    <a:pt x="90683" y="305429"/>
                  </a:lnTo>
                  <a:lnTo>
                    <a:pt x="66624" y="349075"/>
                  </a:lnTo>
                  <a:lnTo>
                    <a:pt x="46266" y="394100"/>
                  </a:lnTo>
                  <a:lnTo>
                    <a:pt x="29610" y="440276"/>
                  </a:lnTo>
                  <a:lnTo>
                    <a:pt x="16656" y="487371"/>
                  </a:lnTo>
                  <a:lnTo>
                    <a:pt x="7402" y="535156"/>
                  </a:lnTo>
                  <a:lnTo>
                    <a:pt x="1850" y="583401"/>
                  </a:lnTo>
                  <a:lnTo>
                    <a:pt x="0" y="631876"/>
                  </a:lnTo>
                  <a:lnTo>
                    <a:pt x="1850" y="680351"/>
                  </a:lnTo>
                  <a:lnTo>
                    <a:pt x="7402" y="728596"/>
                  </a:lnTo>
                  <a:lnTo>
                    <a:pt x="16656" y="776381"/>
                  </a:lnTo>
                  <a:lnTo>
                    <a:pt x="29610" y="823477"/>
                  </a:lnTo>
                  <a:lnTo>
                    <a:pt x="46266" y="869652"/>
                  </a:lnTo>
                  <a:lnTo>
                    <a:pt x="66624" y="914677"/>
                  </a:lnTo>
                  <a:lnTo>
                    <a:pt x="90683" y="958323"/>
                  </a:lnTo>
                  <a:lnTo>
                    <a:pt x="118443" y="1000358"/>
                  </a:lnTo>
                  <a:lnTo>
                    <a:pt x="149904" y="1040554"/>
                  </a:lnTo>
                  <a:lnTo>
                    <a:pt x="185067" y="1078680"/>
                  </a:lnTo>
                  <a:lnTo>
                    <a:pt x="223194" y="1113844"/>
                  </a:lnTo>
                  <a:lnTo>
                    <a:pt x="263390" y="1145306"/>
                  </a:lnTo>
                  <a:lnTo>
                    <a:pt x="305426" y="1173067"/>
                  </a:lnTo>
                  <a:lnTo>
                    <a:pt x="349072" y="1197127"/>
                  </a:lnTo>
                  <a:lnTo>
                    <a:pt x="394098" y="1217485"/>
                  </a:lnTo>
                  <a:lnTo>
                    <a:pt x="440274" y="1234141"/>
                  </a:lnTo>
                  <a:lnTo>
                    <a:pt x="487369" y="1247096"/>
                  </a:lnTo>
                  <a:lnTo>
                    <a:pt x="535155" y="1256350"/>
                  </a:lnTo>
                  <a:lnTo>
                    <a:pt x="583400" y="1261902"/>
                  </a:lnTo>
                  <a:lnTo>
                    <a:pt x="631876" y="1263753"/>
                  </a:lnTo>
                  <a:lnTo>
                    <a:pt x="680351" y="1261902"/>
                  </a:lnTo>
                  <a:lnTo>
                    <a:pt x="728596" y="1256350"/>
                  </a:lnTo>
                  <a:lnTo>
                    <a:pt x="776382" y="1247096"/>
                  </a:lnTo>
                  <a:lnTo>
                    <a:pt x="823477" y="1234141"/>
                  </a:lnTo>
                  <a:lnTo>
                    <a:pt x="869653" y="1217485"/>
                  </a:lnTo>
                  <a:lnTo>
                    <a:pt x="914679" y="1197127"/>
                  </a:lnTo>
                  <a:lnTo>
                    <a:pt x="958325" y="1173067"/>
                  </a:lnTo>
                  <a:lnTo>
                    <a:pt x="1000361" y="1145306"/>
                  </a:lnTo>
                  <a:lnTo>
                    <a:pt x="1040557" y="1113844"/>
                  </a:lnTo>
                  <a:lnTo>
                    <a:pt x="1078684" y="1078680"/>
                  </a:lnTo>
                  <a:lnTo>
                    <a:pt x="1113847" y="1040554"/>
                  </a:lnTo>
                  <a:lnTo>
                    <a:pt x="1145308" y="1000358"/>
                  </a:lnTo>
                  <a:lnTo>
                    <a:pt x="1173068" y="958323"/>
                  </a:lnTo>
                  <a:lnTo>
                    <a:pt x="1197127" y="914677"/>
                  </a:lnTo>
                  <a:lnTo>
                    <a:pt x="1217485" y="869652"/>
                  </a:lnTo>
                  <a:lnTo>
                    <a:pt x="1234141" y="823477"/>
                  </a:lnTo>
                  <a:lnTo>
                    <a:pt x="1247096" y="776381"/>
                  </a:lnTo>
                  <a:lnTo>
                    <a:pt x="1256349" y="728596"/>
                  </a:lnTo>
                  <a:lnTo>
                    <a:pt x="1261901" y="680351"/>
                  </a:lnTo>
                  <a:lnTo>
                    <a:pt x="1263752" y="631876"/>
                  </a:lnTo>
                  <a:lnTo>
                    <a:pt x="1261901" y="583401"/>
                  </a:lnTo>
                  <a:lnTo>
                    <a:pt x="1256349" y="535156"/>
                  </a:lnTo>
                  <a:lnTo>
                    <a:pt x="1247096" y="487371"/>
                  </a:lnTo>
                  <a:lnTo>
                    <a:pt x="1234141" y="440276"/>
                  </a:lnTo>
                  <a:lnTo>
                    <a:pt x="1217485" y="394100"/>
                  </a:lnTo>
                  <a:lnTo>
                    <a:pt x="1197127" y="349075"/>
                  </a:lnTo>
                  <a:lnTo>
                    <a:pt x="1173068" y="305429"/>
                  </a:lnTo>
                  <a:lnTo>
                    <a:pt x="1145308" y="263394"/>
                  </a:lnTo>
                  <a:lnTo>
                    <a:pt x="1113847" y="223198"/>
                  </a:lnTo>
                  <a:lnTo>
                    <a:pt x="1078684" y="185072"/>
                  </a:lnTo>
                  <a:lnTo>
                    <a:pt x="1040557" y="149908"/>
                  </a:lnTo>
                  <a:lnTo>
                    <a:pt x="1000361" y="118446"/>
                  </a:lnTo>
                  <a:lnTo>
                    <a:pt x="958325" y="90685"/>
                  </a:lnTo>
                  <a:lnTo>
                    <a:pt x="914679" y="66626"/>
                  </a:lnTo>
                  <a:lnTo>
                    <a:pt x="869653" y="46268"/>
                  </a:lnTo>
                  <a:lnTo>
                    <a:pt x="823477" y="29611"/>
                  </a:lnTo>
                  <a:lnTo>
                    <a:pt x="776382" y="16656"/>
                  </a:lnTo>
                  <a:lnTo>
                    <a:pt x="728596" y="7402"/>
                  </a:lnTo>
                  <a:lnTo>
                    <a:pt x="680351" y="1850"/>
                  </a:lnTo>
                  <a:lnTo>
                    <a:pt x="631876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32" name="object 9"/>
            <p:cNvSpPr/>
            <p:nvPr userDrawn="1"/>
          </p:nvSpPr>
          <p:spPr>
            <a:xfrm>
              <a:off x="4484252" y="2897813"/>
              <a:ext cx="641535" cy="641536"/>
            </a:xfrm>
            <a:custGeom>
              <a:avLst/>
              <a:gdLst/>
              <a:ahLst/>
              <a:cxnLst/>
              <a:rect l="l" t="t" r="r" b="b"/>
              <a:pathLst>
                <a:path w="1880363" h="1880367">
                  <a:moveTo>
                    <a:pt x="940185" y="0"/>
                  </a:moveTo>
                  <a:lnTo>
                    <a:pt x="868058" y="2753"/>
                  </a:lnTo>
                  <a:lnTo>
                    <a:pt x="796273" y="11014"/>
                  </a:lnTo>
                  <a:lnTo>
                    <a:pt x="725172" y="24783"/>
                  </a:lnTo>
                  <a:lnTo>
                    <a:pt x="655098" y="44059"/>
                  </a:lnTo>
                  <a:lnTo>
                    <a:pt x="586392" y="68843"/>
                  </a:lnTo>
                  <a:lnTo>
                    <a:pt x="519398" y="99134"/>
                  </a:lnTo>
                  <a:lnTo>
                    <a:pt x="454457" y="134933"/>
                  </a:lnTo>
                  <a:lnTo>
                    <a:pt x="391911" y="176239"/>
                  </a:lnTo>
                  <a:lnTo>
                    <a:pt x="332102" y="223052"/>
                  </a:lnTo>
                  <a:lnTo>
                    <a:pt x="275373" y="275373"/>
                  </a:lnTo>
                  <a:lnTo>
                    <a:pt x="223052" y="332102"/>
                  </a:lnTo>
                  <a:lnTo>
                    <a:pt x="176239" y="391910"/>
                  </a:lnTo>
                  <a:lnTo>
                    <a:pt x="134933" y="454456"/>
                  </a:lnTo>
                  <a:lnTo>
                    <a:pt x="99134" y="519397"/>
                  </a:lnTo>
                  <a:lnTo>
                    <a:pt x="68843" y="586391"/>
                  </a:lnTo>
                  <a:lnTo>
                    <a:pt x="44059" y="655097"/>
                  </a:lnTo>
                  <a:lnTo>
                    <a:pt x="24783" y="725171"/>
                  </a:lnTo>
                  <a:lnTo>
                    <a:pt x="11014" y="796271"/>
                  </a:lnTo>
                  <a:lnTo>
                    <a:pt x="2753" y="868056"/>
                  </a:lnTo>
                  <a:lnTo>
                    <a:pt x="0" y="940183"/>
                  </a:lnTo>
                  <a:lnTo>
                    <a:pt x="2753" y="1012310"/>
                  </a:lnTo>
                  <a:lnTo>
                    <a:pt x="11014" y="1084095"/>
                  </a:lnTo>
                  <a:lnTo>
                    <a:pt x="24783" y="1155196"/>
                  </a:lnTo>
                  <a:lnTo>
                    <a:pt x="44059" y="1225270"/>
                  </a:lnTo>
                  <a:lnTo>
                    <a:pt x="68843" y="1293975"/>
                  </a:lnTo>
                  <a:lnTo>
                    <a:pt x="99134" y="1360969"/>
                  </a:lnTo>
                  <a:lnTo>
                    <a:pt x="134933" y="1425911"/>
                  </a:lnTo>
                  <a:lnTo>
                    <a:pt x="176239" y="1488456"/>
                  </a:lnTo>
                  <a:lnTo>
                    <a:pt x="223052" y="1548265"/>
                  </a:lnTo>
                  <a:lnTo>
                    <a:pt x="275373" y="1604993"/>
                  </a:lnTo>
                  <a:lnTo>
                    <a:pt x="332102" y="1657314"/>
                  </a:lnTo>
                  <a:lnTo>
                    <a:pt x="391911" y="1704128"/>
                  </a:lnTo>
                  <a:lnTo>
                    <a:pt x="454457" y="1745434"/>
                  </a:lnTo>
                  <a:lnTo>
                    <a:pt x="519398" y="1781232"/>
                  </a:lnTo>
                  <a:lnTo>
                    <a:pt x="586392" y="1811523"/>
                  </a:lnTo>
                  <a:lnTo>
                    <a:pt x="655098" y="1836307"/>
                  </a:lnTo>
                  <a:lnTo>
                    <a:pt x="725172" y="1855583"/>
                  </a:lnTo>
                  <a:lnTo>
                    <a:pt x="796273" y="1869352"/>
                  </a:lnTo>
                  <a:lnTo>
                    <a:pt x="868058" y="1877613"/>
                  </a:lnTo>
                  <a:lnTo>
                    <a:pt x="940185" y="1880367"/>
                  </a:lnTo>
                  <a:lnTo>
                    <a:pt x="1012312" y="1877613"/>
                  </a:lnTo>
                  <a:lnTo>
                    <a:pt x="1084097" y="1869352"/>
                  </a:lnTo>
                  <a:lnTo>
                    <a:pt x="1155197" y="1855583"/>
                  </a:lnTo>
                  <a:lnTo>
                    <a:pt x="1225271" y="1836307"/>
                  </a:lnTo>
                  <a:lnTo>
                    <a:pt x="1293976" y="1811523"/>
                  </a:lnTo>
                  <a:lnTo>
                    <a:pt x="1360970" y="1781232"/>
                  </a:lnTo>
                  <a:lnTo>
                    <a:pt x="1425911" y="1745434"/>
                  </a:lnTo>
                  <a:lnTo>
                    <a:pt x="1488456" y="1704128"/>
                  </a:lnTo>
                  <a:lnTo>
                    <a:pt x="1548264" y="1657314"/>
                  </a:lnTo>
                  <a:lnTo>
                    <a:pt x="1604992" y="1604993"/>
                  </a:lnTo>
                  <a:lnTo>
                    <a:pt x="1657313" y="1548265"/>
                  </a:lnTo>
                  <a:lnTo>
                    <a:pt x="1704126" y="1488456"/>
                  </a:lnTo>
                  <a:lnTo>
                    <a:pt x="1745432" y="1425911"/>
                  </a:lnTo>
                  <a:lnTo>
                    <a:pt x="1781230" y="1360969"/>
                  </a:lnTo>
                  <a:lnTo>
                    <a:pt x="1811521" y="1293975"/>
                  </a:lnTo>
                  <a:lnTo>
                    <a:pt x="1836304" y="1225270"/>
                  </a:lnTo>
                  <a:lnTo>
                    <a:pt x="1855580" y="1155196"/>
                  </a:lnTo>
                  <a:lnTo>
                    <a:pt x="1869349" y="1084095"/>
                  </a:lnTo>
                  <a:lnTo>
                    <a:pt x="1877610" y="1012310"/>
                  </a:lnTo>
                  <a:lnTo>
                    <a:pt x="1880363" y="940183"/>
                  </a:lnTo>
                  <a:lnTo>
                    <a:pt x="1877610" y="868056"/>
                  </a:lnTo>
                  <a:lnTo>
                    <a:pt x="1869349" y="796271"/>
                  </a:lnTo>
                  <a:lnTo>
                    <a:pt x="1855580" y="725171"/>
                  </a:lnTo>
                  <a:lnTo>
                    <a:pt x="1836304" y="655097"/>
                  </a:lnTo>
                  <a:lnTo>
                    <a:pt x="1811521" y="586391"/>
                  </a:lnTo>
                  <a:lnTo>
                    <a:pt x="1781230" y="519397"/>
                  </a:lnTo>
                  <a:lnTo>
                    <a:pt x="1745432" y="454456"/>
                  </a:lnTo>
                  <a:lnTo>
                    <a:pt x="1704126" y="391910"/>
                  </a:lnTo>
                  <a:lnTo>
                    <a:pt x="1657313" y="332102"/>
                  </a:lnTo>
                  <a:lnTo>
                    <a:pt x="1604992" y="275373"/>
                  </a:lnTo>
                  <a:lnTo>
                    <a:pt x="1548264" y="223052"/>
                  </a:lnTo>
                  <a:lnTo>
                    <a:pt x="1488456" y="176239"/>
                  </a:lnTo>
                  <a:lnTo>
                    <a:pt x="1425911" y="134933"/>
                  </a:lnTo>
                  <a:lnTo>
                    <a:pt x="1360970" y="99134"/>
                  </a:lnTo>
                  <a:lnTo>
                    <a:pt x="1293976" y="68843"/>
                  </a:lnTo>
                  <a:lnTo>
                    <a:pt x="1225271" y="44059"/>
                  </a:lnTo>
                  <a:lnTo>
                    <a:pt x="1155197" y="24783"/>
                  </a:lnTo>
                  <a:lnTo>
                    <a:pt x="1084097" y="11014"/>
                  </a:lnTo>
                  <a:lnTo>
                    <a:pt x="1012312" y="2753"/>
                  </a:lnTo>
                  <a:lnTo>
                    <a:pt x="940185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457" y="3844395"/>
            <a:ext cx="1314000" cy="1103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68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6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rgbClr val="FFFFFF"/>
                </a:solidFill>
                <a:sym typeface="+mn-lt"/>
              </a:rPr>
              <a:t>Agenda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0792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8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3279E5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>
                <a:solidFill>
                  <a:srgbClr val="3279E5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6069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162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3279E5"/>
                </a:solidFill>
                <a:latin typeface="Trebuchet M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82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rgbClr val="FFFFFF"/>
                </a:solidFill>
                <a:sym typeface="+mn-lt"/>
              </a:rPr>
              <a:t>Agenda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472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56406"/>
            <a:ext cx="211455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0E3570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0061"/>
            <a:ext cx="1023938" cy="253722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922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77.xml"/><Relationship Id="rId63" Type="http://schemas.openxmlformats.org/officeDocument/2006/relationships/slideLayout" Target="../slideLayouts/slideLayout93.xml"/><Relationship Id="rId68" Type="http://schemas.openxmlformats.org/officeDocument/2006/relationships/tags" Target="../tags/tag1.xml"/><Relationship Id="rId7" Type="http://schemas.openxmlformats.org/officeDocument/2006/relationships/slideLayout" Target="../slideLayouts/slideLayout37.xml"/><Relationship Id="rId71" Type="http://schemas.openxmlformats.org/officeDocument/2006/relationships/image" Target="../media/image6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67.xml"/><Relationship Id="rId40" Type="http://schemas.openxmlformats.org/officeDocument/2006/relationships/slideLayout" Target="../slideLayouts/slideLayout70.xml"/><Relationship Id="rId45" Type="http://schemas.openxmlformats.org/officeDocument/2006/relationships/slideLayout" Target="../slideLayouts/slideLayout75.xml"/><Relationship Id="rId53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88.xml"/><Relationship Id="rId66" Type="http://schemas.openxmlformats.org/officeDocument/2006/relationships/theme" Target="../theme/theme2.xml"/><Relationship Id="rId5" Type="http://schemas.openxmlformats.org/officeDocument/2006/relationships/slideLayout" Target="../slideLayouts/slideLayout35.xml"/><Relationship Id="rId61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65.xml"/><Relationship Id="rId43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78.xml"/><Relationship Id="rId56" Type="http://schemas.openxmlformats.org/officeDocument/2006/relationships/slideLayout" Target="../slideLayouts/slideLayout86.xml"/><Relationship Id="rId64" Type="http://schemas.openxmlformats.org/officeDocument/2006/relationships/slideLayout" Target="../slideLayouts/slideLayout9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38.xml"/><Relationship Id="rId51" Type="http://schemas.openxmlformats.org/officeDocument/2006/relationships/slideLayout" Target="../slideLayouts/slideLayout81.xml"/><Relationship Id="rId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68.xml"/><Relationship Id="rId46" Type="http://schemas.openxmlformats.org/officeDocument/2006/relationships/slideLayout" Target="../slideLayouts/slideLayout76.xml"/><Relationship Id="rId59" Type="http://schemas.openxmlformats.org/officeDocument/2006/relationships/slideLayout" Target="../slideLayouts/slideLayout8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50.xml"/><Relationship Id="rId41" Type="http://schemas.openxmlformats.org/officeDocument/2006/relationships/slideLayout" Target="../slideLayouts/slideLayout71.xml"/><Relationship Id="rId54" Type="http://schemas.openxmlformats.org/officeDocument/2006/relationships/slideLayout" Target="../slideLayouts/slideLayout84.xml"/><Relationship Id="rId62" Type="http://schemas.openxmlformats.org/officeDocument/2006/relationships/slideLayout" Target="../slideLayouts/slideLayout9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slideLayout" Target="../slideLayouts/slideLayout66.xml"/><Relationship Id="rId49" Type="http://schemas.openxmlformats.org/officeDocument/2006/relationships/slideLayout" Target="../slideLayouts/slideLayout79.xml"/><Relationship Id="rId57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61.xml"/><Relationship Id="rId44" Type="http://schemas.openxmlformats.org/officeDocument/2006/relationships/slideLayout" Target="../slideLayouts/slideLayout74.xml"/><Relationship Id="rId52" Type="http://schemas.openxmlformats.org/officeDocument/2006/relationships/slideLayout" Target="../slideLayouts/slideLayout82.xml"/><Relationship Id="rId60" Type="http://schemas.openxmlformats.org/officeDocument/2006/relationships/slideLayout" Target="../slideLayouts/slideLayout90.xml"/><Relationship Id="rId6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9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80.xml"/><Relationship Id="rId5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019" y="256032"/>
            <a:ext cx="3200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eaLnBrk="0" hangingPunct="0">
              <a:spcBef>
                <a:spcPct val="20000"/>
              </a:spcBef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019" y="1248937"/>
            <a:ext cx="8627806" cy="3484555"/>
          </a:xfrm>
          <a:prstGeom prst="rect">
            <a:avLst/>
          </a:prstGeom>
        </p:spPr>
        <p:txBody>
          <a:bodyPr lIns="45720" tIns="45720" rIns="45720" bIns="4572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MSIPCMccf84f4bae55a4055e27944e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416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tivity: Internal &amp; Restricted</a:t>
            </a:r>
            <a:endParaRPr lang="en-US" sz="7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582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  <p:sldLayoutId id="2147484487" r:id="rId9"/>
    <p:sldLayoutId id="2147484488" r:id="rId10"/>
    <p:sldLayoutId id="2147484489" r:id="rId11"/>
    <p:sldLayoutId id="2147484490" r:id="rId12"/>
    <p:sldLayoutId id="2147484491" r:id="rId13"/>
    <p:sldLayoutId id="2147484492" r:id="rId14"/>
    <p:sldLayoutId id="2147484493" r:id="rId15"/>
    <p:sldLayoutId id="2147484494" r:id="rId16"/>
    <p:sldLayoutId id="2147484495" r:id="rId17"/>
    <p:sldLayoutId id="2147484496" r:id="rId18"/>
    <p:sldLayoutId id="2147484497" r:id="rId19"/>
    <p:sldLayoutId id="2147484498" r:id="rId20"/>
    <p:sldLayoutId id="2147484499" r:id="rId21"/>
    <p:sldLayoutId id="2147484500" r:id="rId22"/>
    <p:sldLayoutId id="2147484501" r:id="rId23"/>
    <p:sldLayoutId id="2147484502" r:id="rId24"/>
    <p:sldLayoutId id="2147484503" r:id="rId25"/>
    <p:sldLayoutId id="2147484504" r:id="rId26"/>
    <p:sldLayoutId id="2147484505" r:id="rId27"/>
    <p:sldLayoutId id="2147484506" r:id="rId28"/>
    <p:sldLayoutId id="2147484507" r:id="rId29"/>
    <p:sldLayoutId id="2147484508" r:id="rId30"/>
  </p:sldLayoutIdLst>
  <p:hf hdr="0"/>
  <p:txStyles>
    <p:titleStyle>
      <a:lvl1pPr marL="0" algn="l" defTabSz="457200" rtl="0" eaLnBrk="1" latinLnBrk="0" hangingPunct="1">
        <a:lnSpc>
          <a:spcPct val="98000"/>
        </a:lnSpc>
        <a:spcBef>
          <a:spcPct val="0"/>
        </a:spcBef>
        <a:buNone/>
        <a:tabLst>
          <a:tab pos="457200" algn="l"/>
        </a:tabLst>
        <a:defRPr lang="en-US" sz="2600" b="1" u="sng" kern="1200" dirty="0">
          <a:solidFill>
            <a:schemeClr val="tx2"/>
          </a:solidFill>
          <a:latin typeface="+mj-lt"/>
          <a:ea typeface="+mn-ea"/>
          <a:cs typeface="Arial"/>
        </a:defRPr>
      </a:lvl1pPr>
    </p:titleStyle>
    <p:bodyStyle>
      <a:lvl1pPr marL="231775" indent="-231775" algn="l" defTabSz="457200" rtl="0" eaLnBrk="1" latinLnBrk="0" hangingPunct="1">
        <a:spcBef>
          <a:spcPts val="600"/>
        </a:spcBef>
        <a:buClr>
          <a:srgbClr val="00B0F0"/>
        </a:buClr>
        <a:buFont typeface="Arial" panose="020B0604020202020204" pitchFamily="34" charset="0"/>
        <a:buChar char="•"/>
        <a:defRPr kumimoji="0" lang="en-US" sz="20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Arial"/>
        </a:defRPr>
      </a:lvl1pPr>
      <a:lvl2pPr marL="742950" indent="-2857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8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2pPr>
      <a:lvl3pPr marL="1085850" indent="-1714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2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1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050" b="0" i="0" u="none" strike="noStrike" kern="1200" cap="none" spc="0" normalizeH="0" baseline="0" noProof="0" dirty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1" name="Group 2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MSIPCMc2cb463fbd8b5db42ee9c90b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41629"/>
            <a:ext cx="1502583" cy="2018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  <a:endParaRPr lang="en-US" sz="7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693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30" r:id="rId1"/>
    <p:sldLayoutId id="2147485631" r:id="rId2"/>
    <p:sldLayoutId id="2147485632" r:id="rId3"/>
    <p:sldLayoutId id="2147485633" r:id="rId4"/>
    <p:sldLayoutId id="2147485634" r:id="rId5"/>
    <p:sldLayoutId id="2147485635" r:id="rId6"/>
    <p:sldLayoutId id="2147485636" r:id="rId7"/>
    <p:sldLayoutId id="2147485637" r:id="rId8"/>
    <p:sldLayoutId id="2147485638" r:id="rId9"/>
    <p:sldLayoutId id="2147485639" r:id="rId10"/>
    <p:sldLayoutId id="2147485640" r:id="rId11"/>
    <p:sldLayoutId id="2147485641" r:id="rId12"/>
    <p:sldLayoutId id="2147485642" r:id="rId13"/>
    <p:sldLayoutId id="2147485643" r:id="rId14"/>
    <p:sldLayoutId id="2147485644" r:id="rId15"/>
    <p:sldLayoutId id="2147485645" r:id="rId16"/>
    <p:sldLayoutId id="2147485646" r:id="rId17"/>
    <p:sldLayoutId id="2147485647" r:id="rId18"/>
    <p:sldLayoutId id="2147485648" r:id="rId19"/>
    <p:sldLayoutId id="2147485649" r:id="rId20"/>
    <p:sldLayoutId id="2147485650" r:id="rId21"/>
    <p:sldLayoutId id="2147485651" r:id="rId22"/>
    <p:sldLayoutId id="2147485652" r:id="rId23"/>
    <p:sldLayoutId id="2147485653" r:id="rId24"/>
    <p:sldLayoutId id="2147485654" r:id="rId25"/>
    <p:sldLayoutId id="2147485655" r:id="rId26"/>
    <p:sldLayoutId id="2147485656" r:id="rId27"/>
    <p:sldLayoutId id="2147485657" r:id="rId28"/>
    <p:sldLayoutId id="2147485658" r:id="rId29"/>
    <p:sldLayoutId id="2147485659" r:id="rId30"/>
    <p:sldLayoutId id="2147485660" r:id="rId31"/>
    <p:sldLayoutId id="2147485661" r:id="rId32"/>
    <p:sldLayoutId id="2147485662" r:id="rId33"/>
    <p:sldLayoutId id="2147485663" r:id="rId34"/>
    <p:sldLayoutId id="2147485664" r:id="rId35"/>
    <p:sldLayoutId id="2147485665" r:id="rId36"/>
    <p:sldLayoutId id="2147485666" r:id="rId37"/>
    <p:sldLayoutId id="2147485667" r:id="rId38"/>
    <p:sldLayoutId id="2147485668" r:id="rId39"/>
    <p:sldLayoutId id="2147485669" r:id="rId40"/>
    <p:sldLayoutId id="2147485670" r:id="rId41"/>
    <p:sldLayoutId id="2147485671" r:id="rId42"/>
    <p:sldLayoutId id="2147485672" r:id="rId43"/>
    <p:sldLayoutId id="2147485673" r:id="rId44"/>
    <p:sldLayoutId id="2147485674" r:id="rId45"/>
    <p:sldLayoutId id="2147485675" r:id="rId46"/>
    <p:sldLayoutId id="2147485676" r:id="rId47"/>
    <p:sldLayoutId id="2147485677" r:id="rId48"/>
    <p:sldLayoutId id="2147485678" r:id="rId49"/>
    <p:sldLayoutId id="2147485679" r:id="rId50"/>
    <p:sldLayoutId id="2147485680" r:id="rId51"/>
    <p:sldLayoutId id="2147485681" r:id="rId52"/>
    <p:sldLayoutId id="2147485682" r:id="rId53"/>
    <p:sldLayoutId id="2147485683" r:id="rId54"/>
    <p:sldLayoutId id="2147485684" r:id="rId55"/>
    <p:sldLayoutId id="2147485685" r:id="rId56"/>
    <p:sldLayoutId id="2147485686" r:id="rId57"/>
    <p:sldLayoutId id="2147485687" r:id="rId58"/>
    <p:sldLayoutId id="2147485688" r:id="rId59"/>
    <p:sldLayoutId id="2147485689" r:id="rId60"/>
    <p:sldLayoutId id="2147485690" r:id="rId61"/>
    <p:sldLayoutId id="2147485691" r:id="rId62"/>
    <p:sldLayoutId id="2147485692" r:id="rId63"/>
    <p:sldLayoutId id="2147485693" r:id="rId64"/>
    <p:sldLayoutId id="2147485694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diagramLayout" Target="../diagrams/layout1.xml"/><Relationship Id="rId21" Type="http://schemas.openxmlformats.org/officeDocument/2006/relationships/image" Target="../media/image32.jpe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jpeg"/><Relationship Id="rId2" Type="http://schemas.openxmlformats.org/officeDocument/2006/relationships/diagramData" Target="../diagrams/data1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1D3F3E-B603-40E7-9696-08AADB7F9B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22FD21-9175-4743-9B0B-2EB936DB3F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DevOps Capstone Project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59AEF4-0E5D-46AE-9D65-785A1D2249E4}"/>
              </a:ext>
            </a:extLst>
          </p:cNvPr>
          <p:cNvSpPr txBox="1"/>
          <p:nvPr/>
        </p:nvSpPr>
        <p:spPr>
          <a:xfrm>
            <a:off x="3633985" y="2343150"/>
            <a:ext cx="2213612" cy="16004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 err="1">
                <a:solidFill>
                  <a:schemeClr val="accent2"/>
                </a:solidFill>
                <a:latin typeface="Arial"/>
                <a:cs typeface="Arial"/>
              </a:rPr>
              <a:t>DTDGrocerystore</a:t>
            </a:r>
            <a:endParaRPr lang="en-US" dirty="0" err="1">
              <a:solidFill>
                <a:schemeClr val="accent2"/>
              </a:solidFill>
            </a:endParaRPr>
          </a:p>
          <a:p>
            <a:pPr algn="ctr"/>
            <a:endParaRPr lang="en-US" sz="1400" dirty="0">
              <a:solidFill>
                <a:schemeClr val="accent2"/>
              </a:solidFill>
              <a:latin typeface="Arial"/>
              <a:cs typeface="Arial"/>
            </a:endParaRPr>
          </a:p>
          <a:p>
            <a:pPr algn="ctr"/>
            <a:r>
              <a:rPr lang="en-US" sz="1400" dirty="0">
                <a:solidFill>
                  <a:schemeClr val="accent2"/>
                </a:solidFill>
                <a:latin typeface="Arial"/>
                <a:cs typeface="Arial"/>
              </a:rPr>
              <a:t>By</a:t>
            </a:r>
          </a:p>
          <a:p>
            <a:pPr algn="ctr"/>
            <a:r>
              <a:rPr lang="en-US" sz="1400" dirty="0" err="1">
                <a:solidFill>
                  <a:schemeClr val="accent2"/>
                </a:solidFill>
                <a:latin typeface="Arial"/>
                <a:cs typeface="Arial"/>
              </a:rPr>
              <a:t>Nabarupa</a:t>
            </a:r>
            <a:r>
              <a:rPr lang="en-US" sz="1400" dirty="0">
                <a:solidFill>
                  <a:schemeClr val="accent2"/>
                </a:solidFill>
                <a:latin typeface="Arial"/>
                <a:cs typeface="Arial"/>
              </a:rPr>
              <a:t> Ghosh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  <a:latin typeface="Arial"/>
                <a:cs typeface="Arial"/>
              </a:rPr>
              <a:t>Shekhar </a:t>
            </a:r>
            <a:r>
              <a:rPr lang="en-US" sz="1400" dirty="0" err="1">
                <a:solidFill>
                  <a:schemeClr val="accent2"/>
                </a:solidFill>
                <a:latin typeface="Arial"/>
                <a:cs typeface="Arial"/>
              </a:rPr>
              <a:t>Aleti</a:t>
            </a:r>
            <a:endParaRPr lang="en-US" sz="1400">
              <a:solidFill>
                <a:schemeClr val="accent2"/>
              </a:solidFill>
              <a:latin typeface="Arial"/>
              <a:cs typeface="Arial"/>
            </a:endParaRPr>
          </a:p>
          <a:p>
            <a:pPr algn="ctr"/>
            <a:r>
              <a:rPr lang="en-US" sz="1400" dirty="0">
                <a:solidFill>
                  <a:schemeClr val="accent2"/>
                </a:solidFill>
                <a:latin typeface="Arial"/>
                <a:cs typeface="Arial"/>
              </a:rPr>
              <a:t>Krishnendu Chatterjee</a:t>
            </a:r>
          </a:p>
          <a:p>
            <a:pPr algn="ctr"/>
            <a:endParaRPr lang="en-US" sz="14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115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val 78">
            <a:extLst>
              <a:ext uri="{FF2B5EF4-FFF2-40B4-BE49-F238E27FC236}">
                <a16:creationId xmlns:a16="http://schemas.microsoft.com/office/drawing/2014/main" id="{77A118C7-393E-42AA-9E12-1624CBAE4DF7}"/>
              </a:ext>
            </a:extLst>
          </p:cNvPr>
          <p:cNvSpPr/>
          <p:nvPr/>
        </p:nvSpPr>
        <p:spPr>
          <a:xfrm>
            <a:off x="4214796" y="250597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3202" y="106283"/>
            <a:ext cx="2943526" cy="552851"/>
          </a:xfrm>
        </p:spPr>
        <p:txBody>
          <a:bodyPr/>
          <a:lstStyle/>
          <a:p>
            <a:r>
              <a:rPr lang="en-US" dirty="0"/>
              <a:t>Tools Integration – CICD view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1823879" y="1081454"/>
            <a:ext cx="5026361" cy="3078162"/>
            <a:chOff x="1311545" y="599322"/>
            <a:chExt cx="4848225" cy="2879725"/>
          </a:xfrm>
        </p:grpSpPr>
        <p:graphicFrame>
          <p:nvGraphicFramePr>
            <p:cNvPr id="8" name="Diagram 7"/>
            <p:cNvGraphicFramePr/>
            <p:nvPr/>
          </p:nvGraphicFramePr>
          <p:xfrm>
            <a:off x="1311545" y="599322"/>
            <a:ext cx="4848225" cy="287972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7983" y="985073"/>
              <a:ext cx="458540" cy="458540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8490" y="2593147"/>
              <a:ext cx="472828" cy="47282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7569" y="3021266"/>
              <a:ext cx="373578" cy="37357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3474" y="2566452"/>
              <a:ext cx="575009" cy="57500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2078" y="1857330"/>
              <a:ext cx="400367" cy="400367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70367" y="1034549"/>
              <a:ext cx="466726" cy="365760"/>
            </a:xfrm>
            <a:prstGeom prst="rect">
              <a:avLst/>
            </a:prstGeom>
          </p:spPr>
        </p:pic>
      </p:grpSp>
      <p:sp>
        <p:nvSpPr>
          <p:cNvPr id="20" name="TextBox 19"/>
          <p:cNvSpPr txBox="1"/>
          <p:nvPr/>
        </p:nvSpPr>
        <p:spPr>
          <a:xfrm>
            <a:off x="4157633" y="868948"/>
            <a:ext cx="8306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766135" y="1668765"/>
            <a:ext cx="8130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Source Code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75123" y="3349625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ntinuous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Testing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908535" y="4213305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de Quality Analysi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334701" y="3403818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Binary 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354591" y="2702642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ntinuous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Releas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544793" y="1594913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ntinuous Deployment</a:t>
            </a:r>
          </a:p>
        </p:txBody>
      </p:sp>
      <p:cxnSp>
        <p:nvCxnSpPr>
          <p:cNvPr id="56" name="Straight Connector 55"/>
          <p:cNvCxnSpPr/>
          <p:nvPr/>
        </p:nvCxnSpPr>
        <p:spPr>
          <a:xfrm flipH="1">
            <a:off x="3525492" y="4031636"/>
            <a:ext cx="729147" cy="435651"/>
          </a:xfrm>
          <a:prstGeom prst="line">
            <a:avLst/>
          </a:prstGeom>
          <a:ln w="12700">
            <a:solidFill>
              <a:schemeClr val="accent6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/>
          <p:cNvGrpSpPr/>
          <p:nvPr/>
        </p:nvGrpSpPr>
        <p:grpSpPr>
          <a:xfrm>
            <a:off x="3182271" y="4134013"/>
            <a:ext cx="710455" cy="673215"/>
            <a:chOff x="3230175" y="4335130"/>
            <a:chExt cx="710455" cy="673215"/>
          </a:xfrm>
        </p:grpSpPr>
        <p:sp>
          <p:nvSpPr>
            <p:cNvPr id="57" name="Oval 56"/>
            <p:cNvSpPr/>
            <p:nvPr/>
          </p:nvSpPr>
          <p:spPr>
            <a:xfrm>
              <a:off x="3230175" y="4335130"/>
              <a:ext cx="710455" cy="67321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4632" y="4593602"/>
              <a:ext cx="611329" cy="146719"/>
            </a:xfrm>
            <a:prstGeom prst="rect">
              <a:avLst/>
            </a:prstGeom>
          </p:spPr>
        </p:pic>
      </p:grpSp>
      <p:cxnSp>
        <p:nvCxnSpPr>
          <p:cNvPr id="64" name="Straight Connector 63"/>
          <p:cNvCxnSpPr/>
          <p:nvPr/>
        </p:nvCxnSpPr>
        <p:spPr>
          <a:xfrm flipH="1">
            <a:off x="2197848" y="3625694"/>
            <a:ext cx="1182061" cy="218356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/>
          <p:cNvGrpSpPr/>
          <p:nvPr/>
        </p:nvGrpSpPr>
        <p:grpSpPr>
          <a:xfrm>
            <a:off x="1760960" y="3510753"/>
            <a:ext cx="710455" cy="673215"/>
            <a:chOff x="1890524" y="3711870"/>
            <a:chExt cx="710455" cy="673215"/>
          </a:xfrm>
        </p:grpSpPr>
        <p:sp>
          <p:nvSpPr>
            <p:cNvPr id="65" name="Oval 64"/>
            <p:cNvSpPr/>
            <p:nvPr/>
          </p:nvSpPr>
          <p:spPr>
            <a:xfrm>
              <a:off x="1890524" y="3711870"/>
              <a:ext cx="710455" cy="67321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84840" y="3865749"/>
              <a:ext cx="521821" cy="324399"/>
            </a:xfrm>
            <a:prstGeom prst="rect">
              <a:avLst/>
            </a:prstGeom>
          </p:spPr>
        </p:pic>
      </p:grpSp>
      <p:cxnSp>
        <p:nvCxnSpPr>
          <p:cNvPr id="71" name="Straight Connector 70"/>
          <p:cNvCxnSpPr/>
          <p:nvPr/>
        </p:nvCxnSpPr>
        <p:spPr>
          <a:xfrm flipH="1">
            <a:off x="2108979" y="2602884"/>
            <a:ext cx="891815" cy="137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0" name="Group 139"/>
          <p:cNvGrpSpPr/>
          <p:nvPr/>
        </p:nvGrpSpPr>
        <p:grpSpPr>
          <a:xfrm>
            <a:off x="1760960" y="2280690"/>
            <a:ext cx="710455" cy="673215"/>
            <a:chOff x="1538369" y="2718258"/>
            <a:chExt cx="710455" cy="673215"/>
          </a:xfrm>
        </p:grpSpPr>
        <p:sp>
          <p:nvSpPr>
            <p:cNvPr id="72" name="Oval 71"/>
            <p:cNvSpPr/>
            <p:nvPr/>
          </p:nvSpPr>
          <p:spPr>
            <a:xfrm>
              <a:off x="1538369" y="2718258"/>
              <a:ext cx="710455" cy="67321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4586" y="2808996"/>
              <a:ext cx="461618" cy="462912"/>
            </a:xfrm>
            <a:prstGeom prst="rect">
              <a:avLst/>
            </a:prstGeom>
          </p:spPr>
        </p:pic>
      </p:grpSp>
      <p:sp>
        <p:nvSpPr>
          <p:cNvPr id="96" name="Oval 95"/>
          <p:cNvSpPr/>
          <p:nvPr/>
        </p:nvSpPr>
        <p:spPr>
          <a:xfrm>
            <a:off x="4001282" y="2085583"/>
            <a:ext cx="1088013" cy="10504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107" y="2115889"/>
            <a:ext cx="996894" cy="996894"/>
          </a:xfrm>
          <a:prstGeom prst="rect">
            <a:avLst/>
          </a:prstGeom>
        </p:spPr>
      </p:pic>
      <p:sp>
        <p:nvSpPr>
          <p:cNvPr id="98" name="TextBox 97"/>
          <p:cNvSpPr txBox="1"/>
          <p:nvPr/>
        </p:nvSpPr>
        <p:spPr>
          <a:xfrm>
            <a:off x="4115522" y="3154357"/>
            <a:ext cx="8595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Orchestration</a:t>
            </a:r>
          </a:p>
        </p:txBody>
      </p:sp>
      <p:pic>
        <p:nvPicPr>
          <p:cNvPr id="107" name="Picture 10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393" y="2358495"/>
            <a:ext cx="498767" cy="498767"/>
          </a:xfrm>
          <a:prstGeom prst="rect">
            <a:avLst/>
          </a:prstGeom>
        </p:spPr>
      </p:pic>
      <p:cxnSp>
        <p:nvCxnSpPr>
          <p:cNvPr id="109" name="Straight Connector 108"/>
          <p:cNvCxnSpPr/>
          <p:nvPr/>
        </p:nvCxnSpPr>
        <p:spPr>
          <a:xfrm>
            <a:off x="6078578" y="2620990"/>
            <a:ext cx="726472" cy="0"/>
          </a:xfrm>
          <a:prstGeom prst="line">
            <a:avLst/>
          </a:prstGeom>
          <a:ln w="12700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5629486" y="3718265"/>
            <a:ext cx="1128261" cy="156030"/>
          </a:xfrm>
          <a:prstGeom prst="line">
            <a:avLst/>
          </a:prstGeom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Oval 107"/>
          <p:cNvSpPr/>
          <p:nvPr/>
        </p:nvSpPr>
        <p:spPr>
          <a:xfrm>
            <a:off x="6468110" y="2299119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extBox 115"/>
          <p:cNvSpPr txBox="1"/>
          <p:nvPr/>
        </p:nvSpPr>
        <p:spPr>
          <a:xfrm>
            <a:off x="5915018" y="2764427"/>
            <a:ext cx="8130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</a:p>
        </p:txBody>
      </p:sp>
      <p:sp>
        <p:nvSpPr>
          <p:cNvPr id="44" name="Oval 43"/>
          <p:cNvSpPr/>
          <p:nvPr/>
        </p:nvSpPr>
        <p:spPr>
          <a:xfrm>
            <a:off x="6468110" y="3510753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5" name="Straight Connector 144"/>
          <p:cNvCxnSpPr/>
          <p:nvPr/>
        </p:nvCxnSpPr>
        <p:spPr>
          <a:xfrm flipH="1" flipV="1">
            <a:off x="2146459" y="1400144"/>
            <a:ext cx="1202402" cy="294708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Oval 84"/>
          <p:cNvSpPr/>
          <p:nvPr/>
        </p:nvSpPr>
        <p:spPr>
          <a:xfrm>
            <a:off x="1761479" y="1081454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741" y="1154520"/>
            <a:ext cx="473146" cy="473146"/>
          </a:xfrm>
          <a:prstGeom prst="rect">
            <a:avLst/>
          </a:prstGeom>
        </p:spPr>
      </p:pic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FC18AE2-236B-45E8-B866-12C831C20735}"/>
              </a:ext>
            </a:extLst>
          </p:cNvPr>
          <p:cNvCxnSpPr>
            <a:cxnSpLocks/>
          </p:cNvCxnSpPr>
          <p:nvPr/>
        </p:nvCxnSpPr>
        <p:spPr>
          <a:xfrm>
            <a:off x="4619779" y="4138850"/>
            <a:ext cx="568013" cy="548038"/>
          </a:xfrm>
          <a:prstGeom prst="line">
            <a:avLst/>
          </a:prstGeom>
          <a:ln w="12700">
            <a:solidFill>
              <a:schemeClr val="accent6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AA5D6E17-61D2-4DD9-ACB6-41D75246365D}"/>
              </a:ext>
            </a:extLst>
          </p:cNvPr>
          <p:cNvSpPr/>
          <p:nvPr/>
        </p:nvSpPr>
        <p:spPr>
          <a:xfrm>
            <a:off x="4760999" y="4426254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6F5F826-2D06-4D05-9687-FEB8A8BE3445}"/>
              </a:ext>
            </a:extLst>
          </p:cNvPr>
          <p:cNvSpPr txBox="1"/>
          <p:nvPr/>
        </p:nvSpPr>
        <p:spPr>
          <a:xfrm>
            <a:off x="4735952" y="4098007"/>
            <a:ext cx="1207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de Coverage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2590BB9-76D4-4C83-8E04-02E7D2DC80A0}"/>
              </a:ext>
            </a:extLst>
          </p:cNvPr>
          <p:cNvCxnSpPr>
            <a:cxnSpLocks/>
          </p:cNvCxnSpPr>
          <p:nvPr/>
        </p:nvCxnSpPr>
        <p:spPr>
          <a:xfrm flipH="1" flipV="1">
            <a:off x="3416642" y="1020651"/>
            <a:ext cx="84619" cy="475729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77A118C7-393E-42AA-9E12-1624CBAE4DF7}"/>
              </a:ext>
            </a:extLst>
          </p:cNvPr>
          <p:cNvSpPr/>
          <p:nvPr/>
        </p:nvSpPr>
        <p:spPr>
          <a:xfrm>
            <a:off x="2993633" y="467682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40714B-651A-44F0-9E75-4DE25B814F7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032601" y="685405"/>
            <a:ext cx="559868" cy="195585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FC9B46EF-3F65-42A8-A990-8A8039DCB6E2}"/>
              </a:ext>
            </a:extLst>
          </p:cNvPr>
          <p:cNvSpPr txBox="1"/>
          <p:nvPr/>
        </p:nvSpPr>
        <p:spPr>
          <a:xfrm>
            <a:off x="2769667" y="1098277"/>
            <a:ext cx="1207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Monitoring</a:t>
            </a:r>
          </a:p>
        </p:txBody>
      </p:sp>
      <p:pic>
        <p:nvPicPr>
          <p:cNvPr id="67" name="Picture 56" descr="Related image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648" y="4523934"/>
            <a:ext cx="532775" cy="500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8" descr="Related image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0566" y="3603546"/>
            <a:ext cx="682570" cy="48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8" descr="Image result for Maven Image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269" y="2461891"/>
            <a:ext cx="585164" cy="40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2" descr="Image result for java image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2873" y="267523"/>
            <a:ext cx="532775" cy="53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42" y="1164326"/>
            <a:ext cx="466549" cy="481024"/>
          </a:xfrm>
          <a:prstGeom prst="rect">
            <a:avLst/>
          </a:prstGeom>
        </p:spPr>
      </p:pic>
      <p:pic>
        <p:nvPicPr>
          <p:cNvPr id="59" name="Picture 22" descr="Related image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5697" y="3983129"/>
            <a:ext cx="424543" cy="365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5408308" y="3872146"/>
            <a:ext cx="1207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Unit Testing </a:t>
            </a:r>
          </a:p>
        </p:txBody>
      </p:sp>
      <p:cxnSp>
        <p:nvCxnSpPr>
          <p:cNvPr id="68" name="Straight Connector 67"/>
          <p:cNvCxnSpPr/>
          <p:nvPr/>
        </p:nvCxnSpPr>
        <p:spPr>
          <a:xfrm>
            <a:off x="5438392" y="3799989"/>
            <a:ext cx="414695" cy="237893"/>
          </a:xfrm>
          <a:prstGeom prst="line">
            <a:avLst/>
          </a:prstGeom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2590BB9-76D4-4C83-8E04-02E7D2DC80A0}"/>
              </a:ext>
            </a:extLst>
          </p:cNvPr>
          <p:cNvCxnSpPr>
            <a:cxnSpLocks/>
            <a:stCxn id="20" idx="2"/>
            <a:endCxn id="20" idx="0"/>
          </p:cNvCxnSpPr>
          <p:nvPr/>
        </p:nvCxnSpPr>
        <p:spPr>
          <a:xfrm flipV="1">
            <a:off x="4572972" y="868948"/>
            <a:ext cx="0" cy="215444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E8402B1-E973-4C16-B116-8C8D484C2E4B}"/>
              </a:ext>
            </a:extLst>
          </p:cNvPr>
          <p:cNvSpPr txBox="1"/>
          <p:nvPr/>
        </p:nvSpPr>
        <p:spPr>
          <a:xfrm>
            <a:off x="3200400" y="2343150"/>
            <a:ext cx="1459054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956587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F52E82-0867-4A2A-A85C-0B1E97B6EF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E164B5-FCB3-4B34-B030-2C03CAB254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dditional Tool Explored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A9B381-EEF4-48CD-993F-AD938C6E99FE}"/>
              </a:ext>
            </a:extLst>
          </p:cNvPr>
          <p:cNvSpPr txBox="1"/>
          <p:nvPr/>
        </p:nvSpPr>
        <p:spPr>
          <a:xfrm>
            <a:off x="493862" y="1448159"/>
            <a:ext cx="18473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sz="1400" dirty="0">
              <a:solidFill>
                <a:schemeClr val="accent2"/>
              </a:solidFill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F9E3D9-FED2-4361-8746-256FD0329332}"/>
              </a:ext>
            </a:extLst>
          </p:cNvPr>
          <p:cNvSpPr txBox="1"/>
          <p:nvPr/>
        </p:nvSpPr>
        <p:spPr>
          <a:xfrm>
            <a:off x="3461888" y="1892959"/>
            <a:ext cx="2631169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  <a:latin typeface="Arial"/>
                <a:cs typeface="Arial"/>
              </a:rPr>
              <a:t>Kubernetes has been explored as a continuous deployment tool</a:t>
            </a:r>
            <a:endParaRPr lang="en-US" sz="14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E679EF-D3CE-41B8-8931-9AB7A2DFAE26}"/>
              </a:ext>
            </a:extLst>
          </p:cNvPr>
          <p:cNvSpPr txBox="1"/>
          <p:nvPr/>
        </p:nvSpPr>
        <p:spPr>
          <a:xfrm>
            <a:off x="3507716" y="2628900"/>
            <a:ext cx="18473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sz="14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8443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36FE54-F8A9-4440-AA20-FFEAFBA641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126BD3-450B-42C9-865A-73E089D0BB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pplication and its featur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2F91FC-7EA5-4780-86F0-D3C57D4EAF44}"/>
              </a:ext>
            </a:extLst>
          </p:cNvPr>
          <p:cNvSpPr txBox="1"/>
          <p:nvPr/>
        </p:nvSpPr>
        <p:spPr>
          <a:xfrm>
            <a:off x="3200400" y="2343150"/>
            <a:ext cx="1459054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209945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6oWdVfTRiogTWym2ne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ZXeiOqSGGuvQdAuGq9l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bJzwrUSLeLxgY6PAwff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iTveioRrmfVrllc4ETs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0gC07VQSiMIpHfxsdGO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TAoF05TtWnspYIDI5d6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bXj3T5R_mFsU0QCha6T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mkd_vzT76QgiVJdTn1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1Iv7u8T.eURr3cfCUDn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IzJCM8QbKdGlMJ2EJ45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YRJC18SjCfJe5z9K.2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Z.6PNTQB2MGhOtHe3t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ylGwZNQM.Nz1dZ9oXq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jCKGkKRMeebaXhfquE1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AqnxWoR4.I9XhrFq2jE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b2WjPdTROZGMiv1dx7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OMnvulTsSbvuhDedwj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zYEmI0RcWiE6wOwU4w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q.AEuTImJVGEFHLTo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KDqX44QrWCamALo0k9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87E3ZCSwqQPl_1nRJ0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sOc7Z1RnK37UZKCfYL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7ui8L2RB.eQw.wEHAA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SN8OBmSlKKPUmXH9wc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me1dcvQ7.89_dLD7Pb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UZkHXhSvK_fPl1Y_mi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.j5.K4ROyPgAOwmUh2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zPb2RgQUS1u98jeC9r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YBBygKT6aK5.1BZbAm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FVQv3MTCq.V9mgwfIV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9rb5FSGWKzwZMb546w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jBGGloTEuvxTZlPaIt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j_58i0Q8mpTVIcRdEC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6iWFPuSDyxvy36vzog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QeuT.SGa7wjuqSTTeH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r9DkF9RX6C333VE56G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a.nzVTL6bbvyscEUa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tLIqnOQJqPMtxKkYF6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mYrcJMTZWPltP4al4y9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yTB.dYSC2TB48gSarVt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vH1H0HTQCm6SVLdsYa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g8VUPJTnmxuBZ8eZQH5A"/>
</p:tagLst>
</file>

<file path=ppt/theme/theme1.xml><?xml version="1.0" encoding="utf-8"?>
<a:theme xmlns:a="http://schemas.openxmlformats.org/drawingml/2006/main" name="1_Wipro 2017 PPT Theme">
  <a:themeElements>
    <a:clrScheme name="Wipro Template 2014">
      <a:dk1>
        <a:srgbClr val="000000"/>
      </a:dk1>
      <a:lt1>
        <a:srgbClr val="FFFFFF"/>
      </a:lt1>
      <a:dk2>
        <a:srgbClr val="0E3570"/>
      </a:dk2>
      <a:lt2>
        <a:srgbClr val="F2F2F2"/>
      </a:lt2>
      <a:accent1>
        <a:srgbClr val="0E3570"/>
      </a:accent1>
      <a:accent2>
        <a:srgbClr val="646363"/>
      </a:accent2>
      <a:accent3>
        <a:srgbClr val="6DC24B"/>
      </a:accent3>
      <a:accent4>
        <a:srgbClr val="FFDA29"/>
      </a:accent4>
      <a:accent5>
        <a:srgbClr val="EF3341"/>
      </a:accent5>
      <a:accent6>
        <a:srgbClr val="00A2E0"/>
      </a:accent6>
      <a:hlink>
        <a:srgbClr val="646363"/>
      </a:hlink>
      <a:folHlink>
        <a:srgbClr val="646363"/>
      </a:folHlink>
    </a:clrScheme>
    <a:fontScheme name="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 w="6350">
          <a:solidFill>
            <a:schemeClr val="accent2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accent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5C5D5A0E-3112-4AC5-A96F-8949CA43C739}" vid="{8D42C87D-71DC-4989-A6EF-B34D40F24327}"/>
    </a:ext>
  </a:extLst>
</a:theme>
</file>

<file path=ppt/theme/theme2.xml><?xml version="1.0" encoding="utf-8"?>
<a:theme xmlns:a="http://schemas.openxmlformats.org/drawingml/2006/main" name="Wipro Grid 16:9">
  <a:themeElements>
    <a:clrScheme name="Wipro">
      <a:dk1>
        <a:srgbClr val="000000"/>
      </a:dk1>
      <a:lt1>
        <a:srgbClr val="FFFFFF"/>
      </a:lt1>
      <a:dk2>
        <a:srgbClr val="0E3570"/>
      </a:dk2>
      <a:lt2>
        <a:srgbClr val="F2F2F2"/>
      </a:lt2>
      <a:accent1>
        <a:srgbClr val="071C3B"/>
      </a:accent1>
      <a:accent2>
        <a:srgbClr val="0A264E"/>
      </a:accent2>
      <a:accent3>
        <a:srgbClr val="FFDA29"/>
      </a:accent3>
      <a:accent4>
        <a:srgbClr val="3279E5"/>
      </a:accent4>
      <a:accent5>
        <a:srgbClr val="646363"/>
      </a:accent5>
      <a:accent6>
        <a:srgbClr val="EF3341"/>
      </a:accent6>
      <a:hlink>
        <a:srgbClr val="0E3570"/>
      </a:hlink>
      <a:folHlink>
        <a:srgbClr val="3279E5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F4E5F2640A2942AC822E75F7AACF74" ma:contentTypeVersion="6" ma:contentTypeDescription="Create a new document." ma:contentTypeScope="" ma:versionID="2fe1b3d0635c79fa166cd38bbc1d3c9d">
  <xsd:schema xmlns:xsd="http://www.w3.org/2001/XMLSchema" xmlns:xs="http://www.w3.org/2001/XMLSchema" xmlns:p="http://schemas.microsoft.com/office/2006/metadata/properties" xmlns:ns2="fdeed3ba-c54f-462f-b9bf-dfa01eaf8f19" targetNamespace="http://schemas.microsoft.com/office/2006/metadata/properties" ma:root="true" ma:fieldsID="f7fbf7faec4c2e5ed66acfaf4182be16" ns2:_="">
    <xsd:import namespace="fdeed3ba-c54f-462f-b9bf-dfa01eaf8f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eed3ba-c54f-462f-b9bf-dfa01eaf8f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D3AA8A3-374D-496E-B5F5-6B931764E0B9}"/>
</file>

<file path=customXml/itemProps2.xml><?xml version="1.0" encoding="utf-8"?>
<ds:datastoreItem xmlns:ds="http://schemas.openxmlformats.org/officeDocument/2006/customXml" ds:itemID="{8F861646-73DD-4519-AE18-677E4143E2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8E7770-C6A8-4DC7-AB6F-150886F129E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768</TotalTime>
  <Words>28</Words>
  <Application>Microsoft Office PowerPoint</Application>
  <PresentationFormat>On-screen Show (16:9)</PresentationFormat>
  <Paragraphs>18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1_Wipro 2017 PPT Theme</vt:lpstr>
      <vt:lpstr>Wipro Grid 16:9</vt:lpstr>
      <vt:lpstr>DevOps Capstone Project</vt:lpstr>
      <vt:lpstr>Tools Integration – CICD view</vt:lpstr>
      <vt:lpstr>Additional Tool Explored</vt:lpstr>
      <vt:lpstr>Application and its featur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esh Srivastava</dc:creator>
  <cp:lastModifiedBy>Raghavendran Sethumadhavan (TT Architect Academy)</cp:lastModifiedBy>
  <cp:revision>1242</cp:revision>
  <cp:lastPrinted>2015-05-27T10:06:57Z</cp:lastPrinted>
  <dcterms:created xsi:type="dcterms:W3CDTF">2013-12-31T05:54:35Z</dcterms:created>
  <dcterms:modified xsi:type="dcterms:W3CDTF">2021-08-06T04:5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9a70571-31c6-4603-80c1-ef2fb871a62a_Enabled">
    <vt:lpwstr>True</vt:lpwstr>
  </property>
  <property fmtid="{D5CDD505-2E9C-101B-9397-08002B2CF9AE}" pid="3" name="MSIP_Label_b9a70571-31c6-4603-80c1-ef2fb871a62a_SiteId">
    <vt:lpwstr>258ac4e4-146a-411e-9dc8-79a9e12fd6da</vt:lpwstr>
  </property>
  <property fmtid="{D5CDD505-2E9C-101B-9397-08002B2CF9AE}" pid="4" name="MSIP_Label_b9a70571-31c6-4603-80c1-ef2fb871a62a_Ref">
    <vt:lpwstr>https://api.informationprotection.azure.com/api/258ac4e4-146a-411e-9dc8-79a9e12fd6da</vt:lpwstr>
  </property>
  <property fmtid="{D5CDD505-2E9C-101B-9397-08002B2CF9AE}" pid="5" name="MSIP_Label_b9a70571-31c6-4603-80c1-ef2fb871a62a_Owner">
    <vt:lpwstr>anurags@wipro.com</vt:lpwstr>
  </property>
  <property fmtid="{D5CDD505-2E9C-101B-9397-08002B2CF9AE}" pid="6" name="MSIP_Label_b9a70571-31c6-4603-80c1-ef2fb871a62a_SetDate">
    <vt:lpwstr>2018-03-20T17:33:45.0805514+05:30</vt:lpwstr>
  </property>
  <property fmtid="{D5CDD505-2E9C-101B-9397-08002B2CF9AE}" pid="7" name="MSIP_Label_b9a70571-31c6-4603-80c1-ef2fb871a62a_Name">
    <vt:lpwstr>Internal and Restricted</vt:lpwstr>
  </property>
  <property fmtid="{D5CDD505-2E9C-101B-9397-08002B2CF9AE}" pid="8" name="MSIP_Label_b9a70571-31c6-4603-80c1-ef2fb871a62a_Application">
    <vt:lpwstr>Microsoft Azure Information Protection</vt:lpwstr>
  </property>
  <property fmtid="{D5CDD505-2E9C-101B-9397-08002B2CF9AE}" pid="9" name="MSIP_Label_b9a70571-31c6-4603-80c1-ef2fb871a62a_Extended_MSFT_Method">
    <vt:lpwstr>Automatic</vt:lpwstr>
  </property>
  <property fmtid="{D5CDD505-2E9C-101B-9397-08002B2CF9AE}" pid="10" name="Sensitivity">
    <vt:lpwstr>Internal and Restricted</vt:lpwstr>
  </property>
  <property fmtid="{D5CDD505-2E9C-101B-9397-08002B2CF9AE}" pid="11" name="ContentTypeId">
    <vt:lpwstr>0x01010036F4E5F2640A2942AC822E75F7AACF74</vt:lpwstr>
  </property>
</Properties>
</file>